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6" r:id="rId1"/>
    <p:sldMasterId id="2147483666" r:id="rId2"/>
    <p:sldMasterId id="2147483665" r:id="rId3"/>
  </p:sldMasterIdLst>
  <p:notesMasterIdLst>
    <p:notesMasterId r:id="rId9"/>
  </p:notesMasterIdLst>
  <p:handoutMasterIdLst>
    <p:handoutMasterId r:id="rId10"/>
  </p:handoutMasterIdLst>
  <p:sldIdLst>
    <p:sldId id="256" r:id="rId4"/>
    <p:sldId id="321" r:id="rId5"/>
    <p:sldId id="346" r:id="rId6"/>
    <p:sldId id="344" r:id="rId7"/>
    <p:sldId id="345" r:id="rId8"/>
  </p:sldIdLst>
  <p:sldSz cx="13442950" cy="7561263"/>
  <p:notesSz cx="6858000" cy="9144000"/>
  <p:defaultTextStyle>
    <a:defPPr>
      <a:defRPr lang="pt-BR"/>
    </a:defPPr>
    <a:lvl1pPr marL="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27" userDrawn="1">
          <p15:clr>
            <a:srgbClr val="A4A3A4"/>
          </p15:clr>
        </p15:guide>
        <p15:guide id="2" pos="423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32B9CD"/>
    <a:srgbClr val="E6005A"/>
    <a:srgbClr val="272A30"/>
    <a:srgbClr val="FF781D"/>
    <a:srgbClr val="CC9900"/>
    <a:srgbClr val="253746"/>
    <a:srgbClr val="292C34"/>
    <a:srgbClr val="131E29"/>
    <a:srgbClr val="34373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3214" autoAdjust="0"/>
  </p:normalViewPr>
  <p:slideViewPr>
    <p:cSldViewPr showGuides="1">
      <p:cViewPr varScale="1">
        <p:scale>
          <a:sx n="71" d="100"/>
          <a:sy n="71" d="100"/>
        </p:scale>
        <p:origin x="1574" y="43"/>
      </p:cViewPr>
      <p:guideLst>
        <p:guide orient="horz" pos="2427"/>
        <p:guide pos="4234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57" d="100"/>
          <a:sy n="57" d="100"/>
        </p:scale>
        <p:origin x="2832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presProps" Target="presProps.xml"/><Relationship Id="rId5" Type="http://schemas.openxmlformats.org/officeDocument/2006/relationships/slide" Target="slides/slide2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CD65D1-5C11-455D-9F9A-0E035F00A0DA}" type="datetimeFigureOut">
              <a:rPr lang="pt-BR" smtClean="0"/>
              <a:pPr/>
              <a:t>12/09/2019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8E3B7C-E4AE-4E9E-8479-7C668141D483}" type="slidenum">
              <a:rPr lang="pt-BR" smtClean="0"/>
              <a:pPr/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5DA3EF-18EA-43DE-B1BB-402A3C558822}" type="datetimeFigureOut">
              <a:rPr lang="pt-BR" smtClean="0"/>
              <a:pPr/>
              <a:t>12/09/2019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B3645A-D0AE-4F6E-A17E-E0036A9041AF}" type="slidenum">
              <a:rPr lang="pt-BR" smtClean="0"/>
              <a:pPr/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FDDCFD-7C3E-4B92-97DB-7B9CECB613AA}" type="slidenum">
              <a:rPr lang="pt-BR" smtClean="0"/>
              <a:t>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435073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FDDCFD-7C3E-4B92-97DB-7B9CECB613AA}" type="slidenum">
              <a:rPr lang="pt-BR" smtClean="0"/>
              <a:t>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021496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1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ângulo 15"/>
          <p:cNvSpPr/>
          <p:nvPr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1029" name="Freeform 5"/>
          <p:cNvSpPr>
            <a:spLocks/>
          </p:cNvSpPr>
          <p:nvPr/>
        </p:nvSpPr>
        <p:spPr bwMode="auto">
          <a:xfrm>
            <a:off x="6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0" name="Freeform 6"/>
          <p:cNvSpPr>
            <a:spLocks noEditPoints="1"/>
          </p:cNvSpPr>
          <p:nvPr/>
        </p:nvSpPr>
        <p:spPr bwMode="auto">
          <a:xfrm>
            <a:off x="8655302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1" name="Freeform 7"/>
          <p:cNvSpPr>
            <a:spLocks/>
          </p:cNvSpPr>
          <p:nvPr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3" name="Freeform 9"/>
          <p:cNvSpPr>
            <a:spLocks/>
          </p:cNvSpPr>
          <p:nvPr/>
        </p:nvSpPr>
        <p:spPr bwMode="auto">
          <a:xfrm>
            <a:off x="3031455" y="3630622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4" name="Freeform 10"/>
          <p:cNvSpPr>
            <a:spLocks/>
          </p:cNvSpPr>
          <p:nvPr/>
        </p:nvSpPr>
        <p:spPr bwMode="auto">
          <a:xfrm>
            <a:off x="8856862" y="1057284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9" name="Imagem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8973" y="2990549"/>
            <a:ext cx="4325004" cy="161161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72153" y="1692535"/>
            <a:ext cx="5939637" cy="7053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017" b="1">
                <a:latin typeface="Exo 2" pitchFamily="50" charset="0"/>
              </a:defRPr>
            </a:lvl1pPr>
            <a:lvl2pPr marL="655643" indent="0">
              <a:buNone/>
              <a:defRPr sz="2891" b="1"/>
            </a:lvl2pPr>
            <a:lvl3pPr marL="1311286" indent="0">
              <a:buNone/>
              <a:defRPr sz="2640" b="1"/>
            </a:lvl3pPr>
            <a:lvl4pPr marL="1966929" indent="0">
              <a:buNone/>
              <a:defRPr sz="2263" b="1"/>
            </a:lvl4pPr>
            <a:lvl5pPr marL="2622572" indent="0">
              <a:buNone/>
              <a:defRPr sz="2263" b="1"/>
            </a:lvl5pPr>
            <a:lvl6pPr marL="3278215" indent="0">
              <a:buNone/>
              <a:defRPr sz="2263" b="1"/>
            </a:lvl6pPr>
            <a:lvl7pPr marL="3933858" indent="0">
              <a:buNone/>
              <a:defRPr sz="2263" b="1"/>
            </a:lvl7pPr>
            <a:lvl8pPr marL="4589502" indent="0">
              <a:buNone/>
              <a:defRPr sz="2263" b="1"/>
            </a:lvl8pPr>
            <a:lvl9pPr marL="5245144" indent="0">
              <a:buNone/>
              <a:defRPr sz="2263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72153" y="2397901"/>
            <a:ext cx="5939637" cy="4356478"/>
          </a:xfrm>
          <a:prstGeom prst="rect">
            <a:avLst/>
          </a:prstGeom>
        </p:spPr>
        <p:txBody>
          <a:bodyPr/>
          <a:lstStyle>
            <a:lvl1pPr>
              <a:defRPr sz="3394">
                <a:latin typeface="Exo 2" pitchFamily="50" charset="0"/>
              </a:defRPr>
            </a:lvl1pPr>
            <a:lvl2pPr>
              <a:defRPr sz="2891">
                <a:latin typeface="Exo 2" pitchFamily="50" charset="0"/>
              </a:defRPr>
            </a:lvl2pPr>
            <a:lvl3pPr>
              <a:defRPr sz="2640">
                <a:latin typeface="Exo 2" pitchFamily="50" charset="0"/>
              </a:defRPr>
            </a:lvl3pPr>
            <a:lvl4pPr>
              <a:defRPr sz="2263">
                <a:latin typeface="Exo 2" pitchFamily="50" charset="0"/>
              </a:defRPr>
            </a:lvl4pPr>
            <a:lvl5pPr>
              <a:defRPr sz="2263">
                <a:latin typeface="Exo 2" pitchFamily="50" charset="0"/>
              </a:defRPr>
            </a:lvl5pPr>
            <a:lvl6pPr>
              <a:defRPr sz="2263"/>
            </a:lvl6pPr>
            <a:lvl7pPr>
              <a:defRPr sz="2263"/>
            </a:lvl7pPr>
            <a:lvl8pPr>
              <a:defRPr sz="2263"/>
            </a:lvl8pPr>
            <a:lvl9pPr>
              <a:defRPr sz="2263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828833" y="1692535"/>
            <a:ext cx="5941970" cy="7053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017" b="1">
                <a:latin typeface="Exo 2" pitchFamily="50" charset="0"/>
              </a:defRPr>
            </a:lvl1pPr>
            <a:lvl2pPr marL="655643" indent="0">
              <a:buNone/>
              <a:defRPr sz="2891" b="1"/>
            </a:lvl2pPr>
            <a:lvl3pPr marL="1311286" indent="0">
              <a:buNone/>
              <a:defRPr sz="2640" b="1"/>
            </a:lvl3pPr>
            <a:lvl4pPr marL="1966929" indent="0">
              <a:buNone/>
              <a:defRPr sz="2263" b="1"/>
            </a:lvl4pPr>
            <a:lvl5pPr marL="2622572" indent="0">
              <a:buNone/>
              <a:defRPr sz="2263" b="1"/>
            </a:lvl5pPr>
            <a:lvl6pPr marL="3278215" indent="0">
              <a:buNone/>
              <a:defRPr sz="2263" b="1"/>
            </a:lvl6pPr>
            <a:lvl7pPr marL="3933858" indent="0">
              <a:buNone/>
              <a:defRPr sz="2263" b="1"/>
            </a:lvl7pPr>
            <a:lvl8pPr marL="4589502" indent="0">
              <a:buNone/>
              <a:defRPr sz="2263" b="1"/>
            </a:lvl8pPr>
            <a:lvl9pPr marL="5245144" indent="0">
              <a:buNone/>
              <a:defRPr sz="2263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828833" y="2397901"/>
            <a:ext cx="5941970" cy="4356478"/>
          </a:xfrm>
          <a:prstGeom prst="rect">
            <a:avLst/>
          </a:prstGeom>
        </p:spPr>
        <p:txBody>
          <a:bodyPr/>
          <a:lstStyle>
            <a:lvl1pPr>
              <a:defRPr sz="3394">
                <a:latin typeface="Exo 2" pitchFamily="50" charset="0"/>
              </a:defRPr>
            </a:lvl1pPr>
            <a:lvl2pPr>
              <a:defRPr sz="2891">
                <a:latin typeface="Exo 2" pitchFamily="50" charset="0"/>
              </a:defRPr>
            </a:lvl2pPr>
            <a:lvl3pPr>
              <a:defRPr sz="2640">
                <a:latin typeface="Exo 2" pitchFamily="50" charset="0"/>
              </a:defRPr>
            </a:lvl3pPr>
            <a:lvl4pPr>
              <a:defRPr sz="2263">
                <a:latin typeface="Exo 2" pitchFamily="50" charset="0"/>
              </a:defRPr>
            </a:lvl4pPr>
            <a:lvl5pPr>
              <a:defRPr sz="2263">
                <a:latin typeface="Exo 2" pitchFamily="50" charset="0"/>
              </a:defRPr>
            </a:lvl5pPr>
            <a:lvl6pPr>
              <a:defRPr sz="2263"/>
            </a:lvl6pPr>
            <a:lvl7pPr>
              <a:defRPr sz="2263"/>
            </a:lvl7pPr>
            <a:lvl8pPr>
              <a:defRPr sz="2263"/>
            </a:lvl8pPr>
            <a:lvl9pPr>
              <a:defRPr sz="2263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12" name="Espaço Reservado para Tex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2112963" y="108228"/>
            <a:ext cx="10854608" cy="765639"/>
          </a:xfrm>
          <a:prstGeom prst="rect">
            <a:avLst/>
          </a:prstGeom>
        </p:spPr>
        <p:txBody>
          <a:bodyPr anchor="t"/>
          <a:lstStyle>
            <a:lvl1pPr>
              <a:buNone/>
              <a:defRPr sz="3771" b="1" baseline="0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 sz="3771">
                <a:latin typeface="Exo 2" pitchFamily="50" charset="0"/>
              </a:defRPr>
            </a:lvl2pPr>
            <a:lvl3pPr>
              <a:buNone/>
              <a:defRPr sz="3771">
                <a:latin typeface="Exo 2" pitchFamily="50" charset="0"/>
              </a:defRPr>
            </a:lvl3pPr>
            <a:lvl4pPr>
              <a:buNone/>
              <a:defRPr sz="3771">
                <a:latin typeface="Exo 2" pitchFamily="50" charset="0"/>
              </a:defRPr>
            </a:lvl4pPr>
            <a:lvl5pPr>
              <a:buNone/>
              <a:defRPr sz="3771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7" name="Espaço Reservado para Texto 15"/>
          <p:cNvSpPr>
            <a:spLocks noGrp="1"/>
          </p:cNvSpPr>
          <p:nvPr>
            <p:ph type="body" sz="quarter" idx="14" hasCustomPrompt="1"/>
          </p:nvPr>
        </p:nvSpPr>
        <p:spPr>
          <a:xfrm>
            <a:off x="692917" y="6876976"/>
            <a:ext cx="11586960" cy="504056"/>
          </a:xfrm>
          <a:prstGeom prst="rect">
            <a:avLst/>
          </a:prstGeom>
        </p:spPr>
        <p:txBody>
          <a:bodyPr anchor="t"/>
          <a:lstStyle>
            <a:lvl1pPr>
              <a:buNone/>
              <a:defRPr sz="1509" b="0" baseline="0">
                <a:solidFill>
                  <a:srgbClr val="292C34"/>
                </a:solidFill>
                <a:latin typeface="Exo 2" pitchFamily="50" charset="0"/>
              </a:defRPr>
            </a:lvl1pPr>
            <a:lvl2pPr>
              <a:buNone/>
              <a:defRPr sz="3771">
                <a:latin typeface="Exo 2" pitchFamily="50" charset="0"/>
              </a:defRPr>
            </a:lvl2pPr>
            <a:lvl3pPr>
              <a:buNone/>
              <a:defRPr sz="3771">
                <a:latin typeface="Exo 2" pitchFamily="50" charset="0"/>
              </a:defRPr>
            </a:lvl3pPr>
            <a:lvl4pPr>
              <a:buNone/>
              <a:defRPr sz="3771">
                <a:latin typeface="Exo 2" pitchFamily="50" charset="0"/>
              </a:defRPr>
            </a:lvl4pPr>
            <a:lvl5pPr>
              <a:buNone/>
              <a:defRPr sz="3771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3" name="Freeform 7"/>
          <p:cNvSpPr>
            <a:spLocks/>
          </p:cNvSpPr>
          <p:nvPr/>
        </p:nvSpPr>
        <p:spPr bwMode="auto">
          <a:xfrm>
            <a:off x="12605478" y="6948983"/>
            <a:ext cx="837472" cy="612280"/>
          </a:xfrm>
          <a:custGeom>
            <a:avLst/>
            <a:gdLst/>
            <a:ahLst/>
            <a:cxnLst>
              <a:cxn ang="0">
                <a:pos x="1475" y="0"/>
              </a:cxn>
              <a:cxn ang="0">
                <a:pos x="742" y="258"/>
              </a:cxn>
              <a:cxn ang="0">
                <a:pos x="701" y="273"/>
              </a:cxn>
              <a:cxn ang="0">
                <a:pos x="660" y="290"/>
              </a:cxn>
              <a:cxn ang="0">
                <a:pos x="620" y="309"/>
              </a:cxn>
              <a:cxn ang="0">
                <a:pos x="582" y="329"/>
              </a:cxn>
              <a:cxn ang="0">
                <a:pos x="544" y="350"/>
              </a:cxn>
              <a:cxn ang="0">
                <a:pos x="508" y="373"/>
              </a:cxn>
              <a:cxn ang="0">
                <a:pos x="472" y="397"/>
              </a:cxn>
              <a:cxn ang="0">
                <a:pos x="437" y="422"/>
              </a:cxn>
              <a:cxn ang="0">
                <a:pos x="404" y="449"/>
              </a:cxn>
              <a:cxn ang="0">
                <a:pos x="371" y="477"/>
              </a:cxn>
              <a:cxn ang="0">
                <a:pos x="341" y="506"/>
              </a:cxn>
              <a:cxn ang="0">
                <a:pos x="311" y="536"/>
              </a:cxn>
              <a:cxn ang="0">
                <a:pos x="281" y="566"/>
              </a:cxn>
              <a:cxn ang="0">
                <a:pos x="254" y="599"/>
              </a:cxn>
              <a:cxn ang="0">
                <a:pos x="228" y="632"/>
              </a:cxn>
              <a:cxn ang="0">
                <a:pos x="203" y="666"/>
              </a:cxn>
              <a:cxn ang="0">
                <a:pos x="179" y="701"/>
              </a:cxn>
              <a:cxn ang="0">
                <a:pos x="158" y="738"/>
              </a:cxn>
              <a:cxn ang="0">
                <a:pos x="136" y="775"/>
              </a:cxn>
              <a:cxn ang="0">
                <a:pos x="117" y="813"/>
              </a:cxn>
              <a:cxn ang="0">
                <a:pos x="98" y="850"/>
              </a:cxn>
              <a:cxn ang="0">
                <a:pos x="82" y="890"/>
              </a:cxn>
              <a:cxn ang="0">
                <a:pos x="67" y="930"/>
              </a:cxn>
              <a:cxn ang="0">
                <a:pos x="53" y="970"/>
              </a:cxn>
              <a:cxn ang="0">
                <a:pos x="41" y="1011"/>
              </a:cxn>
              <a:cxn ang="0">
                <a:pos x="30" y="1053"/>
              </a:cxn>
              <a:cxn ang="0">
                <a:pos x="21" y="1096"/>
              </a:cxn>
              <a:cxn ang="0">
                <a:pos x="14" y="1138"/>
              </a:cxn>
              <a:cxn ang="0">
                <a:pos x="7" y="1181"/>
              </a:cxn>
              <a:cxn ang="0">
                <a:pos x="4" y="1224"/>
              </a:cxn>
              <a:cxn ang="0">
                <a:pos x="1" y="1269"/>
              </a:cxn>
              <a:cxn ang="0">
                <a:pos x="0" y="1313"/>
              </a:cxn>
              <a:cxn ang="0">
                <a:pos x="0" y="1578"/>
              </a:cxn>
              <a:cxn ang="0">
                <a:pos x="1475" y="1578"/>
              </a:cxn>
              <a:cxn ang="0">
                <a:pos x="1475" y="0"/>
              </a:cxn>
            </a:cxnLst>
            <a:rect l="0" t="0" r="r" b="b"/>
            <a:pathLst>
              <a:path w="1475" h="1578">
                <a:moveTo>
                  <a:pt x="1475" y="0"/>
                </a:moveTo>
                <a:lnTo>
                  <a:pt x="742" y="258"/>
                </a:lnTo>
                <a:lnTo>
                  <a:pt x="701" y="273"/>
                </a:lnTo>
                <a:lnTo>
                  <a:pt x="660" y="290"/>
                </a:lnTo>
                <a:lnTo>
                  <a:pt x="620" y="309"/>
                </a:lnTo>
                <a:lnTo>
                  <a:pt x="582" y="329"/>
                </a:lnTo>
                <a:lnTo>
                  <a:pt x="544" y="350"/>
                </a:lnTo>
                <a:lnTo>
                  <a:pt x="508" y="373"/>
                </a:lnTo>
                <a:lnTo>
                  <a:pt x="472" y="397"/>
                </a:lnTo>
                <a:lnTo>
                  <a:pt x="437" y="422"/>
                </a:lnTo>
                <a:lnTo>
                  <a:pt x="404" y="449"/>
                </a:lnTo>
                <a:lnTo>
                  <a:pt x="371" y="477"/>
                </a:lnTo>
                <a:lnTo>
                  <a:pt x="341" y="506"/>
                </a:lnTo>
                <a:lnTo>
                  <a:pt x="311" y="536"/>
                </a:lnTo>
                <a:lnTo>
                  <a:pt x="281" y="566"/>
                </a:lnTo>
                <a:lnTo>
                  <a:pt x="254" y="599"/>
                </a:lnTo>
                <a:lnTo>
                  <a:pt x="228" y="632"/>
                </a:lnTo>
                <a:lnTo>
                  <a:pt x="203" y="666"/>
                </a:lnTo>
                <a:lnTo>
                  <a:pt x="179" y="701"/>
                </a:lnTo>
                <a:lnTo>
                  <a:pt x="158" y="738"/>
                </a:lnTo>
                <a:lnTo>
                  <a:pt x="136" y="775"/>
                </a:lnTo>
                <a:lnTo>
                  <a:pt x="117" y="813"/>
                </a:lnTo>
                <a:lnTo>
                  <a:pt x="98" y="850"/>
                </a:lnTo>
                <a:lnTo>
                  <a:pt x="82" y="890"/>
                </a:lnTo>
                <a:lnTo>
                  <a:pt x="67" y="930"/>
                </a:lnTo>
                <a:lnTo>
                  <a:pt x="53" y="970"/>
                </a:lnTo>
                <a:lnTo>
                  <a:pt x="41" y="1011"/>
                </a:lnTo>
                <a:lnTo>
                  <a:pt x="30" y="1053"/>
                </a:lnTo>
                <a:lnTo>
                  <a:pt x="21" y="1096"/>
                </a:lnTo>
                <a:lnTo>
                  <a:pt x="14" y="1138"/>
                </a:lnTo>
                <a:lnTo>
                  <a:pt x="7" y="1181"/>
                </a:lnTo>
                <a:lnTo>
                  <a:pt x="4" y="1224"/>
                </a:lnTo>
                <a:lnTo>
                  <a:pt x="1" y="1269"/>
                </a:lnTo>
                <a:lnTo>
                  <a:pt x="0" y="1313"/>
                </a:lnTo>
                <a:lnTo>
                  <a:pt x="0" y="1578"/>
                </a:lnTo>
                <a:lnTo>
                  <a:pt x="1475" y="1578"/>
                </a:lnTo>
                <a:lnTo>
                  <a:pt x="1475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5"/>
          </p:nvPr>
        </p:nvSpPr>
        <p:spPr bwMode="auto">
          <a:xfrm>
            <a:off x="12605478" y="7237015"/>
            <a:ext cx="628646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1257" b="1">
                <a:solidFill>
                  <a:schemeClr val="bg1"/>
                </a:solidFill>
                <a:latin typeface="Exo 2" pitchFamily="50" charset="0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nº›</a:t>
            </a:fld>
            <a:endParaRPr lang="pt-BR" sz="880" dirty="0"/>
          </a:p>
        </p:txBody>
      </p:sp>
      <p:sp>
        <p:nvSpPr>
          <p:cNvPr id="16" name="Freeform 6"/>
          <p:cNvSpPr>
            <a:spLocks/>
          </p:cNvSpPr>
          <p:nvPr userDrawn="1"/>
        </p:nvSpPr>
        <p:spPr bwMode="auto">
          <a:xfrm>
            <a:off x="6" y="9"/>
            <a:ext cx="1832413" cy="1332359"/>
          </a:xfrm>
          <a:custGeom>
            <a:avLst/>
            <a:gdLst/>
            <a:ahLst/>
            <a:cxnLst>
              <a:cxn ang="0">
                <a:pos x="3091" y="1686"/>
              </a:cxn>
              <a:cxn ang="0">
                <a:pos x="3117" y="1687"/>
              </a:cxn>
              <a:cxn ang="0">
                <a:pos x="3156" y="1689"/>
              </a:cxn>
              <a:cxn ang="0">
                <a:pos x="3169" y="1687"/>
              </a:cxn>
              <a:cxn ang="0">
                <a:pos x="3252" y="1655"/>
              </a:cxn>
              <a:cxn ang="0">
                <a:pos x="3332" y="1617"/>
              </a:cxn>
              <a:cxn ang="0">
                <a:pos x="3408" y="1573"/>
              </a:cxn>
              <a:cxn ang="0">
                <a:pos x="3478" y="1523"/>
              </a:cxn>
              <a:cxn ang="0">
                <a:pos x="3545" y="1469"/>
              </a:cxn>
              <a:cxn ang="0">
                <a:pos x="3608" y="1411"/>
              </a:cxn>
              <a:cxn ang="0">
                <a:pos x="3665" y="1346"/>
              </a:cxn>
              <a:cxn ang="0">
                <a:pos x="3718" y="1279"/>
              </a:cxn>
              <a:cxn ang="0">
                <a:pos x="3765" y="1207"/>
              </a:cxn>
              <a:cxn ang="0">
                <a:pos x="3807" y="1133"/>
              </a:cxn>
              <a:cxn ang="0">
                <a:pos x="3842" y="1055"/>
              </a:cxn>
              <a:cxn ang="0">
                <a:pos x="3872" y="974"/>
              </a:cxn>
              <a:cxn ang="0">
                <a:pos x="3896" y="890"/>
              </a:cxn>
              <a:cxn ang="0">
                <a:pos x="3913" y="805"/>
              </a:cxn>
              <a:cxn ang="0">
                <a:pos x="3923" y="717"/>
              </a:cxn>
              <a:cxn ang="0">
                <a:pos x="3927" y="628"/>
              </a:cxn>
              <a:cxn ang="0">
                <a:pos x="3855" y="0"/>
              </a:cxn>
              <a:cxn ang="0">
                <a:pos x="3088" y="0"/>
              </a:cxn>
              <a:cxn ang="0">
                <a:pos x="3855" y="278"/>
              </a:cxn>
              <a:cxn ang="0">
                <a:pos x="3853" y="671"/>
              </a:cxn>
              <a:cxn ang="0">
                <a:pos x="3847" y="753"/>
              </a:cxn>
              <a:cxn ang="0">
                <a:pos x="3834" y="834"/>
              </a:cxn>
              <a:cxn ang="0">
                <a:pos x="3814" y="913"/>
              </a:cxn>
              <a:cxn ang="0">
                <a:pos x="3790" y="990"/>
              </a:cxn>
              <a:cxn ang="0">
                <a:pos x="3759" y="1063"/>
              </a:cxn>
              <a:cxn ang="0">
                <a:pos x="3723" y="1135"/>
              </a:cxn>
              <a:cxn ang="0">
                <a:pos x="3682" y="1204"/>
              </a:cxn>
              <a:cxn ang="0">
                <a:pos x="3635" y="1269"/>
              </a:cxn>
              <a:cxn ang="0">
                <a:pos x="3583" y="1330"/>
              </a:cxn>
              <a:cxn ang="0">
                <a:pos x="3528" y="1388"/>
              </a:cxn>
              <a:cxn ang="0">
                <a:pos x="3467" y="1441"/>
              </a:cxn>
              <a:cxn ang="0">
                <a:pos x="3403" y="1489"/>
              </a:cxn>
              <a:cxn ang="0">
                <a:pos x="3333" y="1533"/>
              </a:cxn>
              <a:cxn ang="0">
                <a:pos x="3261" y="1571"/>
              </a:cxn>
              <a:cxn ang="0">
                <a:pos x="3185" y="1604"/>
              </a:cxn>
              <a:cxn ang="0">
                <a:pos x="3140" y="1621"/>
              </a:cxn>
              <a:cxn ang="0">
                <a:pos x="3121" y="1636"/>
              </a:cxn>
              <a:cxn ang="0">
                <a:pos x="3091" y="1661"/>
              </a:cxn>
              <a:cxn ang="0">
                <a:pos x="0" y="2718"/>
              </a:cxn>
            </a:cxnLst>
            <a:rect l="0" t="0" r="r" b="b"/>
            <a:pathLst>
              <a:path w="3927" h="2740">
                <a:moveTo>
                  <a:pt x="0" y="2740"/>
                </a:moveTo>
                <a:lnTo>
                  <a:pt x="3091" y="1686"/>
                </a:lnTo>
                <a:lnTo>
                  <a:pt x="3098" y="1686"/>
                </a:lnTo>
                <a:lnTo>
                  <a:pt x="3117" y="1687"/>
                </a:lnTo>
                <a:lnTo>
                  <a:pt x="3139" y="1689"/>
                </a:lnTo>
                <a:lnTo>
                  <a:pt x="3156" y="1689"/>
                </a:lnTo>
                <a:lnTo>
                  <a:pt x="3163" y="1689"/>
                </a:lnTo>
                <a:lnTo>
                  <a:pt x="3169" y="1687"/>
                </a:lnTo>
                <a:lnTo>
                  <a:pt x="3211" y="1672"/>
                </a:lnTo>
                <a:lnTo>
                  <a:pt x="3252" y="1655"/>
                </a:lnTo>
                <a:lnTo>
                  <a:pt x="3293" y="1637"/>
                </a:lnTo>
                <a:lnTo>
                  <a:pt x="3332" y="1617"/>
                </a:lnTo>
                <a:lnTo>
                  <a:pt x="3370" y="1595"/>
                </a:lnTo>
                <a:lnTo>
                  <a:pt x="3408" y="1573"/>
                </a:lnTo>
                <a:lnTo>
                  <a:pt x="3443" y="1549"/>
                </a:lnTo>
                <a:lnTo>
                  <a:pt x="3478" y="1523"/>
                </a:lnTo>
                <a:lnTo>
                  <a:pt x="3512" y="1497"/>
                </a:lnTo>
                <a:lnTo>
                  <a:pt x="3545" y="1469"/>
                </a:lnTo>
                <a:lnTo>
                  <a:pt x="3577" y="1440"/>
                </a:lnTo>
                <a:lnTo>
                  <a:pt x="3608" y="1411"/>
                </a:lnTo>
                <a:lnTo>
                  <a:pt x="3637" y="1379"/>
                </a:lnTo>
                <a:lnTo>
                  <a:pt x="3665" y="1346"/>
                </a:lnTo>
                <a:lnTo>
                  <a:pt x="3692" y="1314"/>
                </a:lnTo>
                <a:lnTo>
                  <a:pt x="3718" y="1279"/>
                </a:lnTo>
                <a:lnTo>
                  <a:pt x="3742" y="1244"/>
                </a:lnTo>
                <a:lnTo>
                  <a:pt x="3765" y="1207"/>
                </a:lnTo>
                <a:lnTo>
                  <a:pt x="3786" y="1171"/>
                </a:lnTo>
                <a:lnTo>
                  <a:pt x="3807" y="1133"/>
                </a:lnTo>
                <a:lnTo>
                  <a:pt x="3826" y="1094"/>
                </a:lnTo>
                <a:lnTo>
                  <a:pt x="3842" y="1055"/>
                </a:lnTo>
                <a:lnTo>
                  <a:pt x="3858" y="1014"/>
                </a:lnTo>
                <a:lnTo>
                  <a:pt x="3872" y="974"/>
                </a:lnTo>
                <a:lnTo>
                  <a:pt x="3885" y="932"/>
                </a:lnTo>
                <a:lnTo>
                  <a:pt x="3896" y="890"/>
                </a:lnTo>
                <a:lnTo>
                  <a:pt x="3905" y="848"/>
                </a:lnTo>
                <a:lnTo>
                  <a:pt x="3913" y="805"/>
                </a:lnTo>
                <a:lnTo>
                  <a:pt x="3919" y="762"/>
                </a:lnTo>
                <a:lnTo>
                  <a:pt x="3923" y="717"/>
                </a:lnTo>
                <a:lnTo>
                  <a:pt x="3927" y="673"/>
                </a:lnTo>
                <a:lnTo>
                  <a:pt x="3927" y="628"/>
                </a:lnTo>
                <a:lnTo>
                  <a:pt x="3927" y="0"/>
                </a:lnTo>
                <a:lnTo>
                  <a:pt x="3855" y="0"/>
                </a:lnTo>
                <a:lnTo>
                  <a:pt x="3855" y="256"/>
                </a:lnTo>
                <a:lnTo>
                  <a:pt x="3088" y="0"/>
                </a:lnTo>
                <a:lnTo>
                  <a:pt x="3022" y="0"/>
                </a:lnTo>
                <a:lnTo>
                  <a:pt x="3855" y="278"/>
                </a:lnTo>
                <a:lnTo>
                  <a:pt x="3855" y="628"/>
                </a:lnTo>
                <a:lnTo>
                  <a:pt x="3853" y="671"/>
                </a:lnTo>
                <a:lnTo>
                  <a:pt x="3851" y="711"/>
                </a:lnTo>
                <a:lnTo>
                  <a:pt x="3847" y="753"/>
                </a:lnTo>
                <a:lnTo>
                  <a:pt x="3841" y="793"/>
                </a:lnTo>
                <a:lnTo>
                  <a:pt x="3834" y="834"/>
                </a:lnTo>
                <a:lnTo>
                  <a:pt x="3826" y="874"/>
                </a:lnTo>
                <a:lnTo>
                  <a:pt x="3814" y="913"/>
                </a:lnTo>
                <a:lnTo>
                  <a:pt x="3803" y="951"/>
                </a:lnTo>
                <a:lnTo>
                  <a:pt x="3790" y="990"/>
                </a:lnTo>
                <a:lnTo>
                  <a:pt x="3775" y="1027"/>
                </a:lnTo>
                <a:lnTo>
                  <a:pt x="3759" y="1063"/>
                </a:lnTo>
                <a:lnTo>
                  <a:pt x="3742" y="1100"/>
                </a:lnTo>
                <a:lnTo>
                  <a:pt x="3723" y="1135"/>
                </a:lnTo>
                <a:lnTo>
                  <a:pt x="3703" y="1170"/>
                </a:lnTo>
                <a:lnTo>
                  <a:pt x="3682" y="1204"/>
                </a:lnTo>
                <a:lnTo>
                  <a:pt x="3659" y="1237"/>
                </a:lnTo>
                <a:lnTo>
                  <a:pt x="3635" y="1269"/>
                </a:lnTo>
                <a:lnTo>
                  <a:pt x="3610" y="1300"/>
                </a:lnTo>
                <a:lnTo>
                  <a:pt x="3583" y="1330"/>
                </a:lnTo>
                <a:lnTo>
                  <a:pt x="3555" y="1359"/>
                </a:lnTo>
                <a:lnTo>
                  <a:pt x="3528" y="1388"/>
                </a:lnTo>
                <a:lnTo>
                  <a:pt x="3497" y="1415"/>
                </a:lnTo>
                <a:lnTo>
                  <a:pt x="3467" y="1441"/>
                </a:lnTo>
                <a:lnTo>
                  <a:pt x="3435" y="1465"/>
                </a:lnTo>
                <a:lnTo>
                  <a:pt x="3403" y="1489"/>
                </a:lnTo>
                <a:lnTo>
                  <a:pt x="3368" y="1512"/>
                </a:lnTo>
                <a:lnTo>
                  <a:pt x="3333" y="1533"/>
                </a:lnTo>
                <a:lnTo>
                  <a:pt x="3298" y="1552"/>
                </a:lnTo>
                <a:lnTo>
                  <a:pt x="3261" y="1571"/>
                </a:lnTo>
                <a:lnTo>
                  <a:pt x="3223" y="1588"/>
                </a:lnTo>
                <a:lnTo>
                  <a:pt x="3185" y="1604"/>
                </a:lnTo>
                <a:lnTo>
                  <a:pt x="3145" y="1618"/>
                </a:lnTo>
                <a:lnTo>
                  <a:pt x="3140" y="1621"/>
                </a:lnTo>
                <a:lnTo>
                  <a:pt x="3135" y="1624"/>
                </a:lnTo>
                <a:lnTo>
                  <a:pt x="3121" y="1636"/>
                </a:lnTo>
                <a:lnTo>
                  <a:pt x="3104" y="1650"/>
                </a:lnTo>
                <a:lnTo>
                  <a:pt x="3091" y="1661"/>
                </a:lnTo>
                <a:lnTo>
                  <a:pt x="3084" y="1666"/>
                </a:lnTo>
                <a:lnTo>
                  <a:pt x="0" y="2718"/>
                </a:lnTo>
                <a:lnTo>
                  <a:pt x="0" y="2740"/>
                </a:lnTo>
                <a:close/>
              </a:path>
            </a:pathLst>
          </a:custGeom>
          <a:solidFill>
            <a:srgbClr val="3B3D42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18" name="Imagem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772" y="166084"/>
            <a:ext cx="1342102" cy="50010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I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51" y="1751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9" name="Objeto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1" y="1751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39"/>
          <p:cNvSpPr txBox="1"/>
          <p:nvPr userDrawn="1"/>
        </p:nvSpPr>
        <p:spPr>
          <a:xfrm>
            <a:off x="-4749253" y="1793519"/>
            <a:ext cx="3794095" cy="16289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TÍTULO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SIMPLON BP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MEDIUM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28pt</a:t>
            </a:r>
          </a:p>
        </p:txBody>
      </p:sp>
      <p:sp>
        <p:nvSpPr>
          <p:cNvPr id="15" name="TextBox 40"/>
          <p:cNvSpPr txBox="1"/>
          <p:nvPr userDrawn="1"/>
        </p:nvSpPr>
        <p:spPr>
          <a:xfrm>
            <a:off x="-4749253" y="4297977"/>
            <a:ext cx="3794095" cy="23612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1985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1985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SIMPLON REGULAR 18</a:t>
            </a:r>
            <a:r>
              <a:rPr lang="en-US" sz="1985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pt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endParaRPr lang="en-US" sz="1985" i="0" baseline="0" dirty="0">
              <a:solidFill>
                <a:schemeClr val="tx1">
                  <a:lumMod val="75000"/>
                  <a:lumOff val="25000"/>
                </a:schemeClr>
              </a:solidFill>
              <a:latin typeface="Simplon BP Regular"/>
              <a:cs typeface="Simplon BP Regular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1985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OBS: MANTER ESPAÇAMENTO O6pt</a:t>
            </a:r>
            <a:endParaRPr lang="en-US" sz="1985" i="0" dirty="0">
              <a:solidFill>
                <a:schemeClr val="tx1">
                  <a:lumMod val="75000"/>
                  <a:lumOff val="25000"/>
                </a:schemeClr>
              </a:solidFill>
              <a:latin typeface="Simplon BP Regular"/>
              <a:cs typeface="Simplon BP Regular"/>
            </a:endParaRPr>
          </a:p>
        </p:txBody>
      </p:sp>
      <p:sp>
        <p:nvSpPr>
          <p:cNvPr id="12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10433563" y="7112869"/>
            <a:ext cx="3024664" cy="402567"/>
          </a:xfrm>
          <a:prstGeom prst="rect">
            <a:avLst/>
          </a:prstGeom>
        </p:spPr>
        <p:txBody>
          <a:bodyPr/>
          <a:lstStyle>
            <a:lvl1pPr algn="r">
              <a:defRPr sz="1985">
                <a:solidFill>
                  <a:schemeClr val="bg1"/>
                </a:solidFill>
                <a:latin typeface="Simplon BP Regular" pitchFamily="2" charset="0"/>
              </a:defRPr>
            </a:lvl1pPr>
          </a:lstStyle>
          <a:p>
            <a:fld id="{BC7BA7F7-9ECA-4650-BA2A-F44574574266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36004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cerramen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/>
          <p:cNvSpPr/>
          <p:nvPr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5123" name="AutoShape 3"/>
          <p:cNvSpPr>
            <a:spLocks noChangeAspect="1" noChangeArrowheads="1" noTextEdit="1"/>
          </p:cNvSpPr>
          <p:nvPr/>
        </p:nvSpPr>
        <p:spPr bwMode="auto">
          <a:xfrm>
            <a:off x="217531" y="5"/>
            <a:ext cx="13007890" cy="756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5" name="Freeform 5"/>
          <p:cNvSpPr>
            <a:spLocks/>
          </p:cNvSpPr>
          <p:nvPr/>
        </p:nvSpPr>
        <p:spPr bwMode="auto">
          <a:xfrm>
            <a:off x="10615062" y="5"/>
            <a:ext cx="1724274" cy="7561263"/>
          </a:xfrm>
          <a:custGeom>
            <a:avLst/>
            <a:gdLst/>
            <a:ahLst/>
            <a:cxnLst>
              <a:cxn ang="0">
                <a:pos x="404" y="14289"/>
              </a:cxn>
              <a:cxn ang="0">
                <a:pos x="432" y="14229"/>
              </a:cxn>
              <a:cxn ang="0">
                <a:pos x="458" y="14169"/>
              </a:cxn>
              <a:cxn ang="0">
                <a:pos x="482" y="14108"/>
              </a:cxn>
              <a:cxn ang="0">
                <a:pos x="504" y="14046"/>
              </a:cxn>
              <a:cxn ang="0">
                <a:pos x="2406" y="8464"/>
              </a:cxn>
              <a:cxn ang="0">
                <a:pos x="2452" y="8307"/>
              </a:cxn>
              <a:cxn ang="0">
                <a:pos x="2493" y="8147"/>
              </a:cxn>
              <a:cxn ang="0">
                <a:pos x="2526" y="7987"/>
              </a:cxn>
              <a:cxn ang="0">
                <a:pos x="2553" y="7824"/>
              </a:cxn>
              <a:cxn ang="0">
                <a:pos x="2572" y="7661"/>
              </a:cxn>
              <a:cxn ang="0">
                <a:pos x="2586" y="7498"/>
              </a:cxn>
              <a:cxn ang="0">
                <a:pos x="2593" y="7334"/>
              </a:cxn>
              <a:cxn ang="0">
                <a:pos x="2593" y="7169"/>
              </a:cxn>
              <a:cxn ang="0">
                <a:pos x="2586" y="7005"/>
              </a:cxn>
              <a:cxn ang="0">
                <a:pos x="2572" y="6841"/>
              </a:cxn>
              <a:cxn ang="0">
                <a:pos x="2553" y="6679"/>
              </a:cxn>
              <a:cxn ang="0">
                <a:pos x="2526" y="6516"/>
              </a:cxn>
              <a:cxn ang="0">
                <a:pos x="2493" y="6356"/>
              </a:cxn>
              <a:cxn ang="0">
                <a:pos x="2452" y="6196"/>
              </a:cxn>
              <a:cxn ang="0">
                <a:pos x="2406" y="6038"/>
              </a:cxn>
              <a:cxn ang="0">
                <a:pos x="503" y="478"/>
              </a:cxn>
              <a:cxn ang="0">
                <a:pos x="455" y="352"/>
              </a:cxn>
              <a:cxn ang="0">
                <a:pos x="400" y="230"/>
              </a:cxn>
              <a:cxn ang="0">
                <a:pos x="338" y="112"/>
              </a:cxn>
              <a:cxn ang="0">
                <a:pos x="268" y="0"/>
              </a:cxn>
              <a:cxn ang="0">
                <a:pos x="23" y="31"/>
              </a:cxn>
              <a:cxn ang="0">
                <a:pos x="68" y="93"/>
              </a:cxn>
              <a:cxn ang="0">
                <a:pos x="111" y="158"/>
              </a:cxn>
              <a:cxn ang="0">
                <a:pos x="151" y="225"/>
              </a:cxn>
              <a:cxn ang="0">
                <a:pos x="189" y="293"/>
              </a:cxn>
              <a:cxn ang="0">
                <a:pos x="223" y="364"/>
              </a:cxn>
              <a:cxn ang="0">
                <a:pos x="255" y="436"/>
              </a:cxn>
              <a:cxn ang="0">
                <a:pos x="283" y="511"/>
              </a:cxn>
              <a:cxn ang="0">
                <a:pos x="2174" y="6030"/>
              </a:cxn>
              <a:cxn ang="0">
                <a:pos x="2221" y="6179"/>
              </a:cxn>
              <a:cxn ang="0">
                <a:pos x="2262" y="6329"/>
              </a:cxn>
              <a:cxn ang="0">
                <a:pos x="2297" y="6481"/>
              </a:cxn>
              <a:cxn ang="0">
                <a:pos x="2325" y="6634"/>
              </a:cxn>
              <a:cxn ang="0">
                <a:pos x="2347" y="6786"/>
              </a:cxn>
              <a:cxn ang="0">
                <a:pos x="2363" y="6942"/>
              </a:cxn>
              <a:cxn ang="0">
                <a:pos x="2372" y="7097"/>
              </a:cxn>
              <a:cxn ang="0">
                <a:pos x="2375" y="7251"/>
              </a:cxn>
              <a:cxn ang="0">
                <a:pos x="2372" y="7406"/>
              </a:cxn>
              <a:cxn ang="0">
                <a:pos x="2363" y="7561"/>
              </a:cxn>
              <a:cxn ang="0">
                <a:pos x="2347" y="7716"/>
              </a:cxn>
              <a:cxn ang="0">
                <a:pos x="2325" y="7869"/>
              </a:cxn>
              <a:cxn ang="0">
                <a:pos x="2297" y="8022"/>
              </a:cxn>
              <a:cxn ang="0">
                <a:pos x="2262" y="8174"/>
              </a:cxn>
              <a:cxn ang="0">
                <a:pos x="2221" y="8324"/>
              </a:cxn>
              <a:cxn ang="0">
                <a:pos x="2174" y="8473"/>
              </a:cxn>
              <a:cxn ang="0">
                <a:pos x="284" y="14016"/>
              </a:cxn>
              <a:cxn ang="0">
                <a:pos x="253" y="14097"/>
              </a:cxn>
              <a:cxn ang="0">
                <a:pos x="217" y="14175"/>
              </a:cxn>
              <a:cxn ang="0">
                <a:pos x="178" y="14251"/>
              </a:cxn>
            </a:cxnLst>
            <a:rect l="0" t="0" r="r" b="b"/>
            <a:pathLst>
              <a:path w="2593" h="14289">
                <a:moveTo>
                  <a:pt x="157" y="14289"/>
                </a:moveTo>
                <a:lnTo>
                  <a:pt x="404" y="14289"/>
                </a:lnTo>
                <a:lnTo>
                  <a:pt x="418" y="14260"/>
                </a:lnTo>
                <a:lnTo>
                  <a:pt x="432" y="14229"/>
                </a:lnTo>
                <a:lnTo>
                  <a:pt x="446" y="14200"/>
                </a:lnTo>
                <a:lnTo>
                  <a:pt x="458" y="14169"/>
                </a:lnTo>
                <a:lnTo>
                  <a:pt x="470" y="14139"/>
                </a:lnTo>
                <a:lnTo>
                  <a:pt x="482" y="14108"/>
                </a:lnTo>
                <a:lnTo>
                  <a:pt x="493" y="14076"/>
                </a:lnTo>
                <a:lnTo>
                  <a:pt x="504" y="14046"/>
                </a:lnTo>
                <a:lnTo>
                  <a:pt x="2380" y="8543"/>
                </a:lnTo>
                <a:lnTo>
                  <a:pt x="2406" y="8464"/>
                </a:lnTo>
                <a:lnTo>
                  <a:pt x="2430" y="8386"/>
                </a:lnTo>
                <a:lnTo>
                  <a:pt x="2452" y="8307"/>
                </a:lnTo>
                <a:lnTo>
                  <a:pt x="2473" y="8227"/>
                </a:lnTo>
                <a:lnTo>
                  <a:pt x="2493" y="8147"/>
                </a:lnTo>
                <a:lnTo>
                  <a:pt x="2510" y="8067"/>
                </a:lnTo>
                <a:lnTo>
                  <a:pt x="2526" y="7987"/>
                </a:lnTo>
                <a:lnTo>
                  <a:pt x="2540" y="7905"/>
                </a:lnTo>
                <a:lnTo>
                  <a:pt x="2553" y="7824"/>
                </a:lnTo>
                <a:lnTo>
                  <a:pt x="2564" y="7742"/>
                </a:lnTo>
                <a:lnTo>
                  <a:pt x="2572" y="7661"/>
                </a:lnTo>
                <a:lnTo>
                  <a:pt x="2579" y="7580"/>
                </a:lnTo>
                <a:lnTo>
                  <a:pt x="2586" y="7498"/>
                </a:lnTo>
                <a:lnTo>
                  <a:pt x="2590" y="7416"/>
                </a:lnTo>
                <a:lnTo>
                  <a:pt x="2593" y="7334"/>
                </a:lnTo>
                <a:lnTo>
                  <a:pt x="2593" y="7251"/>
                </a:lnTo>
                <a:lnTo>
                  <a:pt x="2593" y="7169"/>
                </a:lnTo>
                <a:lnTo>
                  <a:pt x="2590" y="7087"/>
                </a:lnTo>
                <a:lnTo>
                  <a:pt x="2586" y="7005"/>
                </a:lnTo>
                <a:lnTo>
                  <a:pt x="2579" y="6923"/>
                </a:lnTo>
                <a:lnTo>
                  <a:pt x="2572" y="6841"/>
                </a:lnTo>
                <a:lnTo>
                  <a:pt x="2564" y="6761"/>
                </a:lnTo>
                <a:lnTo>
                  <a:pt x="2553" y="6679"/>
                </a:lnTo>
                <a:lnTo>
                  <a:pt x="2540" y="6598"/>
                </a:lnTo>
                <a:lnTo>
                  <a:pt x="2526" y="6516"/>
                </a:lnTo>
                <a:lnTo>
                  <a:pt x="2510" y="6436"/>
                </a:lnTo>
                <a:lnTo>
                  <a:pt x="2493" y="6356"/>
                </a:lnTo>
                <a:lnTo>
                  <a:pt x="2473" y="6276"/>
                </a:lnTo>
                <a:lnTo>
                  <a:pt x="2452" y="6196"/>
                </a:lnTo>
                <a:lnTo>
                  <a:pt x="2430" y="6117"/>
                </a:lnTo>
                <a:lnTo>
                  <a:pt x="2406" y="6038"/>
                </a:lnTo>
                <a:lnTo>
                  <a:pt x="2380" y="5960"/>
                </a:lnTo>
                <a:lnTo>
                  <a:pt x="503" y="478"/>
                </a:lnTo>
                <a:lnTo>
                  <a:pt x="480" y="414"/>
                </a:lnTo>
                <a:lnTo>
                  <a:pt x="455" y="352"/>
                </a:lnTo>
                <a:lnTo>
                  <a:pt x="429" y="290"/>
                </a:lnTo>
                <a:lnTo>
                  <a:pt x="400" y="230"/>
                </a:lnTo>
                <a:lnTo>
                  <a:pt x="370" y="170"/>
                </a:lnTo>
                <a:lnTo>
                  <a:pt x="338" y="112"/>
                </a:lnTo>
                <a:lnTo>
                  <a:pt x="304" y="55"/>
                </a:lnTo>
                <a:lnTo>
                  <a:pt x="268" y="0"/>
                </a:lnTo>
                <a:lnTo>
                  <a:pt x="0" y="0"/>
                </a:lnTo>
                <a:lnTo>
                  <a:pt x="23" y="31"/>
                </a:lnTo>
                <a:lnTo>
                  <a:pt x="46" y="61"/>
                </a:lnTo>
                <a:lnTo>
                  <a:pt x="68" y="93"/>
                </a:lnTo>
                <a:lnTo>
                  <a:pt x="90" y="126"/>
                </a:lnTo>
                <a:lnTo>
                  <a:pt x="111" y="158"/>
                </a:lnTo>
                <a:lnTo>
                  <a:pt x="132" y="191"/>
                </a:lnTo>
                <a:lnTo>
                  <a:pt x="151" y="225"/>
                </a:lnTo>
                <a:lnTo>
                  <a:pt x="169" y="259"/>
                </a:lnTo>
                <a:lnTo>
                  <a:pt x="189" y="293"/>
                </a:lnTo>
                <a:lnTo>
                  <a:pt x="206" y="329"/>
                </a:lnTo>
                <a:lnTo>
                  <a:pt x="223" y="364"/>
                </a:lnTo>
                <a:lnTo>
                  <a:pt x="239" y="400"/>
                </a:lnTo>
                <a:lnTo>
                  <a:pt x="255" y="436"/>
                </a:lnTo>
                <a:lnTo>
                  <a:pt x="270" y="473"/>
                </a:lnTo>
                <a:lnTo>
                  <a:pt x="283" y="511"/>
                </a:lnTo>
                <a:lnTo>
                  <a:pt x="297" y="549"/>
                </a:lnTo>
                <a:lnTo>
                  <a:pt x="2174" y="6030"/>
                </a:lnTo>
                <a:lnTo>
                  <a:pt x="2198" y="6104"/>
                </a:lnTo>
                <a:lnTo>
                  <a:pt x="2221" y="6179"/>
                </a:lnTo>
                <a:lnTo>
                  <a:pt x="2242" y="6254"/>
                </a:lnTo>
                <a:lnTo>
                  <a:pt x="2262" y="6329"/>
                </a:lnTo>
                <a:lnTo>
                  <a:pt x="2280" y="6405"/>
                </a:lnTo>
                <a:lnTo>
                  <a:pt x="2297" y="6481"/>
                </a:lnTo>
                <a:lnTo>
                  <a:pt x="2312" y="6557"/>
                </a:lnTo>
                <a:lnTo>
                  <a:pt x="2325" y="6634"/>
                </a:lnTo>
                <a:lnTo>
                  <a:pt x="2336" y="6711"/>
                </a:lnTo>
                <a:lnTo>
                  <a:pt x="2347" y="6786"/>
                </a:lnTo>
                <a:lnTo>
                  <a:pt x="2356" y="6865"/>
                </a:lnTo>
                <a:lnTo>
                  <a:pt x="2363" y="6942"/>
                </a:lnTo>
                <a:lnTo>
                  <a:pt x="2368" y="7019"/>
                </a:lnTo>
                <a:lnTo>
                  <a:pt x="2372" y="7097"/>
                </a:lnTo>
                <a:lnTo>
                  <a:pt x="2374" y="7174"/>
                </a:lnTo>
                <a:lnTo>
                  <a:pt x="2375" y="7251"/>
                </a:lnTo>
                <a:lnTo>
                  <a:pt x="2374" y="7329"/>
                </a:lnTo>
                <a:lnTo>
                  <a:pt x="2372" y="7406"/>
                </a:lnTo>
                <a:lnTo>
                  <a:pt x="2368" y="7484"/>
                </a:lnTo>
                <a:lnTo>
                  <a:pt x="2363" y="7561"/>
                </a:lnTo>
                <a:lnTo>
                  <a:pt x="2356" y="7638"/>
                </a:lnTo>
                <a:lnTo>
                  <a:pt x="2347" y="7716"/>
                </a:lnTo>
                <a:lnTo>
                  <a:pt x="2336" y="7792"/>
                </a:lnTo>
                <a:lnTo>
                  <a:pt x="2325" y="7869"/>
                </a:lnTo>
                <a:lnTo>
                  <a:pt x="2312" y="7946"/>
                </a:lnTo>
                <a:lnTo>
                  <a:pt x="2297" y="8022"/>
                </a:lnTo>
                <a:lnTo>
                  <a:pt x="2280" y="8098"/>
                </a:lnTo>
                <a:lnTo>
                  <a:pt x="2262" y="8174"/>
                </a:lnTo>
                <a:lnTo>
                  <a:pt x="2242" y="8249"/>
                </a:lnTo>
                <a:lnTo>
                  <a:pt x="2221" y="8324"/>
                </a:lnTo>
                <a:lnTo>
                  <a:pt x="2198" y="8398"/>
                </a:lnTo>
                <a:lnTo>
                  <a:pt x="2174" y="8473"/>
                </a:lnTo>
                <a:lnTo>
                  <a:pt x="298" y="13975"/>
                </a:lnTo>
                <a:lnTo>
                  <a:pt x="284" y="14016"/>
                </a:lnTo>
                <a:lnTo>
                  <a:pt x="268" y="14057"/>
                </a:lnTo>
                <a:lnTo>
                  <a:pt x="253" y="14097"/>
                </a:lnTo>
                <a:lnTo>
                  <a:pt x="234" y="14136"/>
                </a:lnTo>
                <a:lnTo>
                  <a:pt x="217" y="14175"/>
                </a:lnTo>
                <a:lnTo>
                  <a:pt x="198" y="14213"/>
                </a:lnTo>
                <a:lnTo>
                  <a:pt x="178" y="14251"/>
                </a:lnTo>
                <a:lnTo>
                  <a:pt x="157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6" name="Freeform 6"/>
          <p:cNvSpPr>
            <a:spLocks/>
          </p:cNvSpPr>
          <p:nvPr/>
        </p:nvSpPr>
        <p:spPr bwMode="auto">
          <a:xfrm>
            <a:off x="4524" y="5"/>
            <a:ext cx="4258797" cy="7561263"/>
          </a:xfrm>
          <a:custGeom>
            <a:avLst/>
            <a:gdLst/>
            <a:ahLst/>
            <a:cxnLst>
              <a:cxn ang="0">
                <a:pos x="4040" y="14255"/>
              </a:cxn>
              <a:cxn ang="0">
                <a:pos x="3989" y="14151"/>
              </a:cxn>
              <a:cxn ang="0">
                <a:pos x="3945" y="14043"/>
              </a:cxn>
              <a:cxn ang="0">
                <a:pos x="6224" y="5647"/>
              </a:cxn>
              <a:cxn ang="0">
                <a:pos x="6284" y="5449"/>
              </a:cxn>
              <a:cxn ang="0">
                <a:pos x="6332" y="5248"/>
              </a:cxn>
              <a:cxn ang="0">
                <a:pos x="6367" y="5044"/>
              </a:cxn>
              <a:cxn ang="0">
                <a:pos x="6389" y="4838"/>
              </a:cxn>
              <a:cxn ang="0">
                <a:pos x="6400" y="4632"/>
              </a:cxn>
              <a:cxn ang="0">
                <a:pos x="6398" y="4425"/>
              </a:cxn>
              <a:cxn ang="0">
                <a:pos x="6383" y="4219"/>
              </a:cxn>
              <a:cxn ang="0">
                <a:pos x="6356" y="4013"/>
              </a:cxn>
              <a:cxn ang="0">
                <a:pos x="6317" y="3811"/>
              </a:cxn>
              <a:cxn ang="0">
                <a:pos x="6266" y="3610"/>
              </a:cxn>
              <a:cxn ang="0">
                <a:pos x="5039" y="0"/>
              </a:cxn>
              <a:cxn ang="0">
                <a:pos x="6186" y="3562"/>
              </a:cxn>
              <a:cxn ang="0">
                <a:pos x="6241" y="3759"/>
              </a:cxn>
              <a:cxn ang="0">
                <a:pos x="6284" y="3957"/>
              </a:cxn>
              <a:cxn ang="0">
                <a:pos x="6315" y="4158"/>
              </a:cxn>
              <a:cxn ang="0">
                <a:pos x="6333" y="4361"/>
              </a:cxn>
              <a:cxn ang="0">
                <a:pos x="6339" y="4563"/>
              </a:cxn>
              <a:cxn ang="0">
                <a:pos x="6333" y="4765"/>
              </a:cxn>
              <a:cxn ang="0">
                <a:pos x="6315" y="4968"/>
              </a:cxn>
              <a:cxn ang="0">
                <a:pos x="6284" y="5168"/>
              </a:cxn>
              <a:cxn ang="0">
                <a:pos x="6241" y="5366"/>
              </a:cxn>
              <a:cxn ang="0">
                <a:pos x="6186" y="5562"/>
              </a:cxn>
              <a:cxn ang="0">
                <a:pos x="2009" y="8528"/>
              </a:cxn>
              <a:cxn ang="0">
                <a:pos x="1937" y="8298"/>
              </a:cxn>
              <a:cxn ang="0">
                <a:pos x="1880" y="8066"/>
              </a:cxn>
              <a:cxn ang="0">
                <a:pos x="1838" y="7831"/>
              </a:cxn>
              <a:cxn ang="0">
                <a:pos x="1811" y="7595"/>
              </a:cxn>
              <a:cxn ang="0">
                <a:pos x="1799" y="7357"/>
              </a:cxn>
              <a:cxn ang="0">
                <a:pos x="1801" y="7119"/>
              </a:cxn>
              <a:cxn ang="0">
                <a:pos x="1819" y="6882"/>
              </a:cxn>
              <a:cxn ang="0">
                <a:pos x="1850" y="6645"/>
              </a:cxn>
              <a:cxn ang="0">
                <a:pos x="1898" y="6411"/>
              </a:cxn>
              <a:cxn ang="0">
                <a:pos x="1959" y="6180"/>
              </a:cxn>
              <a:cxn ang="0">
                <a:pos x="3930" y="524"/>
              </a:cxn>
              <a:cxn ang="0">
                <a:pos x="3971" y="418"/>
              </a:cxn>
              <a:cxn ang="0">
                <a:pos x="4018" y="314"/>
              </a:cxn>
              <a:cxn ang="0">
                <a:pos x="4072" y="215"/>
              </a:cxn>
              <a:cxn ang="0">
                <a:pos x="4131" y="120"/>
              </a:cxn>
              <a:cxn ang="0">
                <a:pos x="4196" y="29"/>
              </a:cxn>
              <a:cxn ang="0">
                <a:pos x="0" y="14289"/>
              </a:cxn>
            </a:cxnLst>
            <a:rect l="0" t="0" r="r" b="b"/>
            <a:pathLst>
              <a:path w="6401" h="14289">
                <a:moveTo>
                  <a:pt x="0" y="14289"/>
                </a:moveTo>
                <a:lnTo>
                  <a:pt x="4059" y="14289"/>
                </a:lnTo>
                <a:lnTo>
                  <a:pt x="4040" y="14255"/>
                </a:lnTo>
                <a:lnTo>
                  <a:pt x="4022" y="14221"/>
                </a:lnTo>
                <a:lnTo>
                  <a:pt x="4005" y="14186"/>
                </a:lnTo>
                <a:lnTo>
                  <a:pt x="3989" y="14151"/>
                </a:lnTo>
                <a:lnTo>
                  <a:pt x="3973" y="14115"/>
                </a:lnTo>
                <a:lnTo>
                  <a:pt x="3958" y="14080"/>
                </a:lnTo>
                <a:lnTo>
                  <a:pt x="3945" y="14043"/>
                </a:lnTo>
                <a:lnTo>
                  <a:pt x="3932" y="14007"/>
                </a:lnTo>
                <a:lnTo>
                  <a:pt x="3554" y="12930"/>
                </a:lnTo>
                <a:lnTo>
                  <a:pt x="6224" y="5647"/>
                </a:lnTo>
                <a:lnTo>
                  <a:pt x="6245" y="5581"/>
                </a:lnTo>
                <a:lnTo>
                  <a:pt x="6266" y="5515"/>
                </a:lnTo>
                <a:lnTo>
                  <a:pt x="6284" y="5449"/>
                </a:lnTo>
                <a:lnTo>
                  <a:pt x="6301" y="5382"/>
                </a:lnTo>
                <a:lnTo>
                  <a:pt x="6317" y="5315"/>
                </a:lnTo>
                <a:lnTo>
                  <a:pt x="6332" y="5248"/>
                </a:lnTo>
                <a:lnTo>
                  <a:pt x="6345" y="5179"/>
                </a:lnTo>
                <a:lnTo>
                  <a:pt x="6356" y="5112"/>
                </a:lnTo>
                <a:lnTo>
                  <a:pt x="6367" y="5044"/>
                </a:lnTo>
                <a:lnTo>
                  <a:pt x="6376" y="4975"/>
                </a:lnTo>
                <a:lnTo>
                  <a:pt x="6383" y="4907"/>
                </a:lnTo>
                <a:lnTo>
                  <a:pt x="6389" y="4838"/>
                </a:lnTo>
                <a:lnTo>
                  <a:pt x="6394" y="4770"/>
                </a:lnTo>
                <a:lnTo>
                  <a:pt x="6398" y="4700"/>
                </a:lnTo>
                <a:lnTo>
                  <a:pt x="6400" y="4632"/>
                </a:lnTo>
                <a:lnTo>
                  <a:pt x="6401" y="4563"/>
                </a:lnTo>
                <a:lnTo>
                  <a:pt x="6400" y="4494"/>
                </a:lnTo>
                <a:lnTo>
                  <a:pt x="6398" y="4425"/>
                </a:lnTo>
                <a:lnTo>
                  <a:pt x="6394" y="4357"/>
                </a:lnTo>
                <a:lnTo>
                  <a:pt x="6389" y="4287"/>
                </a:lnTo>
                <a:lnTo>
                  <a:pt x="6383" y="4219"/>
                </a:lnTo>
                <a:lnTo>
                  <a:pt x="6376" y="4150"/>
                </a:lnTo>
                <a:lnTo>
                  <a:pt x="6367" y="4082"/>
                </a:lnTo>
                <a:lnTo>
                  <a:pt x="6356" y="4013"/>
                </a:lnTo>
                <a:lnTo>
                  <a:pt x="6345" y="3946"/>
                </a:lnTo>
                <a:lnTo>
                  <a:pt x="6332" y="3878"/>
                </a:lnTo>
                <a:lnTo>
                  <a:pt x="6317" y="3811"/>
                </a:lnTo>
                <a:lnTo>
                  <a:pt x="6301" y="3743"/>
                </a:lnTo>
                <a:lnTo>
                  <a:pt x="6284" y="3677"/>
                </a:lnTo>
                <a:lnTo>
                  <a:pt x="6266" y="3610"/>
                </a:lnTo>
                <a:lnTo>
                  <a:pt x="6245" y="3544"/>
                </a:lnTo>
                <a:lnTo>
                  <a:pt x="6224" y="3478"/>
                </a:lnTo>
                <a:lnTo>
                  <a:pt x="5039" y="0"/>
                </a:lnTo>
                <a:lnTo>
                  <a:pt x="4973" y="0"/>
                </a:lnTo>
                <a:lnTo>
                  <a:pt x="6164" y="3498"/>
                </a:lnTo>
                <a:lnTo>
                  <a:pt x="6186" y="3562"/>
                </a:lnTo>
                <a:lnTo>
                  <a:pt x="6206" y="3627"/>
                </a:lnTo>
                <a:lnTo>
                  <a:pt x="6224" y="3693"/>
                </a:lnTo>
                <a:lnTo>
                  <a:pt x="6241" y="3759"/>
                </a:lnTo>
                <a:lnTo>
                  <a:pt x="6256" y="3825"/>
                </a:lnTo>
                <a:lnTo>
                  <a:pt x="6271" y="3891"/>
                </a:lnTo>
                <a:lnTo>
                  <a:pt x="6284" y="3957"/>
                </a:lnTo>
                <a:lnTo>
                  <a:pt x="6295" y="4024"/>
                </a:lnTo>
                <a:lnTo>
                  <a:pt x="6305" y="4090"/>
                </a:lnTo>
                <a:lnTo>
                  <a:pt x="6315" y="4158"/>
                </a:lnTo>
                <a:lnTo>
                  <a:pt x="6322" y="4225"/>
                </a:lnTo>
                <a:lnTo>
                  <a:pt x="6328" y="4292"/>
                </a:lnTo>
                <a:lnTo>
                  <a:pt x="6333" y="4361"/>
                </a:lnTo>
                <a:lnTo>
                  <a:pt x="6335" y="4428"/>
                </a:lnTo>
                <a:lnTo>
                  <a:pt x="6338" y="4495"/>
                </a:lnTo>
                <a:lnTo>
                  <a:pt x="6339" y="4563"/>
                </a:lnTo>
                <a:lnTo>
                  <a:pt x="6338" y="4631"/>
                </a:lnTo>
                <a:lnTo>
                  <a:pt x="6335" y="4698"/>
                </a:lnTo>
                <a:lnTo>
                  <a:pt x="6333" y="4765"/>
                </a:lnTo>
                <a:lnTo>
                  <a:pt x="6328" y="4833"/>
                </a:lnTo>
                <a:lnTo>
                  <a:pt x="6322" y="4901"/>
                </a:lnTo>
                <a:lnTo>
                  <a:pt x="6315" y="4968"/>
                </a:lnTo>
                <a:lnTo>
                  <a:pt x="6305" y="5035"/>
                </a:lnTo>
                <a:lnTo>
                  <a:pt x="6295" y="5101"/>
                </a:lnTo>
                <a:lnTo>
                  <a:pt x="6284" y="5168"/>
                </a:lnTo>
                <a:lnTo>
                  <a:pt x="6271" y="5234"/>
                </a:lnTo>
                <a:lnTo>
                  <a:pt x="6257" y="5300"/>
                </a:lnTo>
                <a:lnTo>
                  <a:pt x="6241" y="5366"/>
                </a:lnTo>
                <a:lnTo>
                  <a:pt x="6224" y="5432"/>
                </a:lnTo>
                <a:lnTo>
                  <a:pt x="6206" y="5497"/>
                </a:lnTo>
                <a:lnTo>
                  <a:pt x="6186" y="5562"/>
                </a:lnTo>
                <a:lnTo>
                  <a:pt x="6166" y="5627"/>
                </a:lnTo>
                <a:lnTo>
                  <a:pt x="3521" y="12838"/>
                </a:lnTo>
                <a:lnTo>
                  <a:pt x="2009" y="8528"/>
                </a:lnTo>
                <a:lnTo>
                  <a:pt x="1984" y="8451"/>
                </a:lnTo>
                <a:lnTo>
                  <a:pt x="1959" y="8375"/>
                </a:lnTo>
                <a:lnTo>
                  <a:pt x="1937" y="8298"/>
                </a:lnTo>
                <a:lnTo>
                  <a:pt x="1916" y="8221"/>
                </a:lnTo>
                <a:lnTo>
                  <a:pt x="1898" y="8144"/>
                </a:lnTo>
                <a:lnTo>
                  <a:pt x="1880" y="8066"/>
                </a:lnTo>
                <a:lnTo>
                  <a:pt x="1865" y="7989"/>
                </a:lnTo>
                <a:lnTo>
                  <a:pt x="1850" y="7911"/>
                </a:lnTo>
                <a:lnTo>
                  <a:pt x="1838" y="7831"/>
                </a:lnTo>
                <a:lnTo>
                  <a:pt x="1827" y="7753"/>
                </a:lnTo>
                <a:lnTo>
                  <a:pt x="1819" y="7674"/>
                </a:lnTo>
                <a:lnTo>
                  <a:pt x="1811" y="7595"/>
                </a:lnTo>
                <a:lnTo>
                  <a:pt x="1805" y="7516"/>
                </a:lnTo>
                <a:lnTo>
                  <a:pt x="1801" y="7437"/>
                </a:lnTo>
                <a:lnTo>
                  <a:pt x="1799" y="7357"/>
                </a:lnTo>
                <a:lnTo>
                  <a:pt x="1798" y="7278"/>
                </a:lnTo>
                <a:lnTo>
                  <a:pt x="1799" y="7198"/>
                </a:lnTo>
                <a:lnTo>
                  <a:pt x="1801" y="7119"/>
                </a:lnTo>
                <a:lnTo>
                  <a:pt x="1805" y="7039"/>
                </a:lnTo>
                <a:lnTo>
                  <a:pt x="1811" y="6960"/>
                </a:lnTo>
                <a:lnTo>
                  <a:pt x="1819" y="6882"/>
                </a:lnTo>
                <a:lnTo>
                  <a:pt x="1827" y="6802"/>
                </a:lnTo>
                <a:lnTo>
                  <a:pt x="1838" y="6724"/>
                </a:lnTo>
                <a:lnTo>
                  <a:pt x="1850" y="6645"/>
                </a:lnTo>
                <a:lnTo>
                  <a:pt x="1865" y="6566"/>
                </a:lnTo>
                <a:lnTo>
                  <a:pt x="1881" y="6488"/>
                </a:lnTo>
                <a:lnTo>
                  <a:pt x="1898" y="6411"/>
                </a:lnTo>
                <a:lnTo>
                  <a:pt x="1916" y="6334"/>
                </a:lnTo>
                <a:lnTo>
                  <a:pt x="1937" y="6256"/>
                </a:lnTo>
                <a:lnTo>
                  <a:pt x="1959" y="6180"/>
                </a:lnTo>
                <a:lnTo>
                  <a:pt x="1984" y="6103"/>
                </a:lnTo>
                <a:lnTo>
                  <a:pt x="2009" y="6027"/>
                </a:lnTo>
                <a:lnTo>
                  <a:pt x="3930" y="524"/>
                </a:lnTo>
                <a:lnTo>
                  <a:pt x="3943" y="488"/>
                </a:lnTo>
                <a:lnTo>
                  <a:pt x="3957" y="452"/>
                </a:lnTo>
                <a:lnTo>
                  <a:pt x="3971" y="418"/>
                </a:lnTo>
                <a:lnTo>
                  <a:pt x="3987" y="383"/>
                </a:lnTo>
                <a:lnTo>
                  <a:pt x="4002" y="348"/>
                </a:lnTo>
                <a:lnTo>
                  <a:pt x="4018" y="314"/>
                </a:lnTo>
                <a:lnTo>
                  <a:pt x="4035" y="281"/>
                </a:lnTo>
                <a:lnTo>
                  <a:pt x="4054" y="248"/>
                </a:lnTo>
                <a:lnTo>
                  <a:pt x="4072" y="215"/>
                </a:lnTo>
                <a:lnTo>
                  <a:pt x="4090" y="183"/>
                </a:lnTo>
                <a:lnTo>
                  <a:pt x="4110" y="152"/>
                </a:lnTo>
                <a:lnTo>
                  <a:pt x="4131" y="120"/>
                </a:lnTo>
                <a:lnTo>
                  <a:pt x="4152" y="89"/>
                </a:lnTo>
                <a:lnTo>
                  <a:pt x="4174" y="59"/>
                </a:lnTo>
                <a:lnTo>
                  <a:pt x="4196" y="29"/>
                </a:lnTo>
                <a:lnTo>
                  <a:pt x="4218" y="0"/>
                </a:lnTo>
                <a:lnTo>
                  <a:pt x="0" y="0"/>
                </a:lnTo>
                <a:lnTo>
                  <a:pt x="0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7" name="Freeform 7"/>
          <p:cNvSpPr>
            <a:spLocks/>
          </p:cNvSpPr>
          <p:nvPr/>
        </p:nvSpPr>
        <p:spPr bwMode="auto">
          <a:xfrm>
            <a:off x="11646838" y="5"/>
            <a:ext cx="1578589" cy="7561263"/>
          </a:xfrm>
          <a:custGeom>
            <a:avLst/>
            <a:gdLst/>
            <a:ahLst/>
            <a:cxnLst>
              <a:cxn ang="0">
                <a:pos x="216" y="14263"/>
              </a:cxn>
              <a:cxn ang="0">
                <a:pos x="238" y="14212"/>
              </a:cxn>
              <a:cxn ang="0">
                <a:pos x="260" y="14159"/>
              </a:cxn>
              <a:cxn ang="0">
                <a:pos x="279" y="14106"/>
              </a:cxn>
              <a:cxn ang="0">
                <a:pos x="2164" y="8529"/>
              </a:cxn>
              <a:cxn ang="0">
                <a:pos x="2213" y="8374"/>
              </a:cxn>
              <a:cxn ang="0">
                <a:pos x="2256" y="8216"/>
              </a:cxn>
              <a:cxn ang="0">
                <a:pos x="2291" y="8057"/>
              </a:cxn>
              <a:cxn ang="0">
                <a:pos x="2320" y="7899"/>
              </a:cxn>
              <a:cxn ang="0">
                <a:pos x="2344" y="7737"/>
              </a:cxn>
              <a:cxn ang="0">
                <a:pos x="2360" y="7576"/>
              </a:cxn>
              <a:cxn ang="0">
                <a:pos x="2369" y="7413"/>
              </a:cxn>
              <a:cxn ang="0">
                <a:pos x="2373" y="7252"/>
              </a:cxn>
              <a:cxn ang="0">
                <a:pos x="2369" y="7090"/>
              </a:cxn>
              <a:cxn ang="0">
                <a:pos x="2360" y="6927"/>
              </a:cxn>
              <a:cxn ang="0">
                <a:pos x="2344" y="6766"/>
              </a:cxn>
              <a:cxn ang="0">
                <a:pos x="2320" y="6604"/>
              </a:cxn>
              <a:cxn ang="0">
                <a:pos x="2291" y="6445"/>
              </a:cxn>
              <a:cxn ang="0">
                <a:pos x="2256" y="6287"/>
              </a:cxn>
              <a:cxn ang="0">
                <a:pos x="2213" y="6129"/>
              </a:cxn>
              <a:cxn ang="0">
                <a:pos x="2164" y="5974"/>
              </a:cxn>
              <a:cxn ang="0">
                <a:pos x="266" y="385"/>
              </a:cxn>
              <a:cxn ang="0">
                <a:pos x="220" y="270"/>
              </a:cxn>
              <a:cxn ang="0">
                <a:pos x="166" y="159"/>
              </a:cxn>
              <a:cxn ang="0">
                <a:pos x="106" y="51"/>
              </a:cxn>
              <a:cxn ang="0">
                <a:pos x="0" y="0"/>
              </a:cxn>
              <a:cxn ang="0">
                <a:pos x="67" y="109"/>
              </a:cxn>
              <a:cxn ang="0">
                <a:pos x="128" y="222"/>
              </a:cxn>
              <a:cxn ang="0">
                <a:pos x="182" y="341"/>
              </a:cxn>
              <a:cxn ang="0">
                <a:pos x="228" y="464"/>
              </a:cxn>
              <a:cxn ang="0">
                <a:pos x="2130" y="6070"/>
              </a:cxn>
              <a:cxn ang="0">
                <a:pos x="2175" y="6224"/>
              </a:cxn>
              <a:cxn ang="0">
                <a:pos x="2214" y="6379"/>
              </a:cxn>
              <a:cxn ang="0">
                <a:pos x="2246" y="6536"/>
              </a:cxn>
              <a:cxn ang="0">
                <a:pos x="2272" y="6694"/>
              </a:cxn>
              <a:cxn ang="0">
                <a:pos x="2291" y="6852"/>
              </a:cxn>
              <a:cxn ang="0">
                <a:pos x="2303" y="7013"/>
              </a:cxn>
              <a:cxn ang="0">
                <a:pos x="2309" y="7171"/>
              </a:cxn>
              <a:cxn ang="0">
                <a:pos x="2309" y="7331"/>
              </a:cxn>
              <a:cxn ang="0">
                <a:pos x="2303" y="7490"/>
              </a:cxn>
              <a:cxn ang="0">
                <a:pos x="2291" y="7650"/>
              </a:cxn>
              <a:cxn ang="0">
                <a:pos x="2272" y="7809"/>
              </a:cxn>
              <a:cxn ang="0">
                <a:pos x="2246" y="7967"/>
              </a:cxn>
              <a:cxn ang="0">
                <a:pos x="2214" y="8123"/>
              </a:cxn>
              <a:cxn ang="0">
                <a:pos x="2175" y="8279"/>
              </a:cxn>
              <a:cxn ang="0">
                <a:pos x="2130" y="8433"/>
              </a:cxn>
              <a:cxn ang="0">
                <a:pos x="229" y="14058"/>
              </a:cxn>
              <a:cxn ang="0">
                <a:pos x="209" y="14118"/>
              </a:cxn>
              <a:cxn ang="0">
                <a:pos x="185" y="14175"/>
              </a:cxn>
              <a:cxn ang="0">
                <a:pos x="161" y="14233"/>
              </a:cxn>
              <a:cxn ang="0">
                <a:pos x="135" y="14289"/>
              </a:cxn>
            </a:cxnLst>
            <a:rect l="0" t="0" r="r" b="b"/>
            <a:pathLst>
              <a:path w="2373" h="14289">
                <a:moveTo>
                  <a:pt x="204" y="14289"/>
                </a:moveTo>
                <a:lnTo>
                  <a:pt x="216" y="14263"/>
                </a:lnTo>
                <a:lnTo>
                  <a:pt x="227" y="14238"/>
                </a:lnTo>
                <a:lnTo>
                  <a:pt x="238" y="14212"/>
                </a:lnTo>
                <a:lnTo>
                  <a:pt x="249" y="14185"/>
                </a:lnTo>
                <a:lnTo>
                  <a:pt x="260" y="14159"/>
                </a:lnTo>
                <a:lnTo>
                  <a:pt x="270" y="14133"/>
                </a:lnTo>
                <a:lnTo>
                  <a:pt x="279" y="14106"/>
                </a:lnTo>
                <a:lnTo>
                  <a:pt x="288" y="14079"/>
                </a:lnTo>
                <a:lnTo>
                  <a:pt x="2164" y="8529"/>
                </a:lnTo>
                <a:lnTo>
                  <a:pt x="2190" y="8451"/>
                </a:lnTo>
                <a:lnTo>
                  <a:pt x="2213" y="8374"/>
                </a:lnTo>
                <a:lnTo>
                  <a:pt x="2235" y="8295"/>
                </a:lnTo>
                <a:lnTo>
                  <a:pt x="2256" y="8216"/>
                </a:lnTo>
                <a:lnTo>
                  <a:pt x="2274" y="8137"/>
                </a:lnTo>
                <a:lnTo>
                  <a:pt x="2291" y="8057"/>
                </a:lnTo>
                <a:lnTo>
                  <a:pt x="2307" y="7978"/>
                </a:lnTo>
                <a:lnTo>
                  <a:pt x="2320" y="7899"/>
                </a:lnTo>
                <a:lnTo>
                  <a:pt x="2333" y="7818"/>
                </a:lnTo>
                <a:lnTo>
                  <a:pt x="2344" y="7737"/>
                </a:lnTo>
                <a:lnTo>
                  <a:pt x="2352" y="7657"/>
                </a:lnTo>
                <a:lnTo>
                  <a:pt x="2360" y="7576"/>
                </a:lnTo>
                <a:lnTo>
                  <a:pt x="2366" y="7495"/>
                </a:lnTo>
                <a:lnTo>
                  <a:pt x="2369" y="7413"/>
                </a:lnTo>
                <a:lnTo>
                  <a:pt x="2372" y="7333"/>
                </a:lnTo>
                <a:lnTo>
                  <a:pt x="2373" y="7252"/>
                </a:lnTo>
                <a:lnTo>
                  <a:pt x="2372" y="7170"/>
                </a:lnTo>
                <a:lnTo>
                  <a:pt x="2369" y="7090"/>
                </a:lnTo>
                <a:lnTo>
                  <a:pt x="2366" y="7008"/>
                </a:lnTo>
                <a:lnTo>
                  <a:pt x="2360" y="6927"/>
                </a:lnTo>
                <a:lnTo>
                  <a:pt x="2352" y="6846"/>
                </a:lnTo>
                <a:lnTo>
                  <a:pt x="2344" y="6766"/>
                </a:lnTo>
                <a:lnTo>
                  <a:pt x="2333" y="6685"/>
                </a:lnTo>
                <a:lnTo>
                  <a:pt x="2320" y="6604"/>
                </a:lnTo>
                <a:lnTo>
                  <a:pt x="2307" y="6525"/>
                </a:lnTo>
                <a:lnTo>
                  <a:pt x="2291" y="6445"/>
                </a:lnTo>
                <a:lnTo>
                  <a:pt x="2274" y="6366"/>
                </a:lnTo>
                <a:lnTo>
                  <a:pt x="2256" y="6287"/>
                </a:lnTo>
                <a:lnTo>
                  <a:pt x="2235" y="6208"/>
                </a:lnTo>
                <a:lnTo>
                  <a:pt x="2213" y="6129"/>
                </a:lnTo>
                <a:lnTo>
                  <a:pt x="2190" y="6052"/>
                </a:lnTo>
                <a:lnTo>
                  <a:pt x="2164" y="5974"/>
                </a:lnTo>
                <a:lnTo>
                  <a:pt x="287" y="445"/>
                </a:lnTo>
                <a:lnTo>
                  <a:pt x="266" y="385"/>
                </a:lnTo>
                <a:lnTo>
                  <a:pt x="244" y="328"/>
                </a:lnTo>
                <a:lnTo>
                  <a:pt x="220" y="270"/>
                </a:lnTo>
                <a:lnTo>
                  <a:pt x="193" y="214"/>
                </a:lnTo>
                <a:lnTo>
                  <a:pt x="166" y="159"/>
                </a:lnTo>
                <a:lnTo>
                  <a:pt x="137" y="105"/>
                </a:lnTo>
                <a:lnTo>
                  <a:pt x="106" y="51"/>
                </a:lnTo>
                <a:lnTo>
                  <a:pt x="74" y="0"/>
                </a:lnTo>
                <a:lnTo>
                  <a:pt x="0" y="0"/>
                </a:lnTo>
                <a:lnTo>
                  <a:pt x="34" y="54"/>
                </a:lnTo>
                <a:lnTo>
                  <a:pt x="67" y="109"/>
                </a:lnTo>
                <a:lnTo>
                  <a:pt x="99" y="165"/>
                </a:lnTo>
                <a:lnTo>
                  <a:pt x="128" y="222"/>
                </a:lnTo>
                <a:lnTo>
                  <a:pt x="156" y="281"/>
                </a:lnTo>
                <a:lnTo>
                  <a:pt x="182" y="341"/>
                </a:lnTo>
                <a:lnTo>
                  <a:pt x="206" y="402"/>
                </a:lnTo>
                <a:lnTo>
                  <a:pt x="228" y="464"/>
                </a:lnTo>
                <a:lnTo>
                  <a:pt x="2105" y="5994"/>
                </a:lnTo>
                <a:lnTo>
                  <a:pt x="2130" y="6070"/>
                </a:lnTo>
                <a:lnTo>
                  <a:pt x="2153" y="6147"/>
                </a:lnTo>
                <a:lnTo>
                  <a:pt x="2175" y="6224"/>
                </a:lnTo>
                <a:lnTo>
                  <a:pt x="2195" y="6301"/>
                </a:lnTo>
                <a:lnTo>
                  <a:pt x="2214" y="6379"/>
                </a:lnTo>
                <a:lnTo>
                  <a:pt x="2230" y="6458"/>
                </a:lnTo>
                <a:lnTo>
                  <a:pt x="2246" y="6536"/>
                </a:lnTo>
                <a:lnTo>
                  <a:pt x="2259" y="6615"/>
                </a:lnTo>
                <a:lnTo>
                  <a:pt x="2272" y="6694"/>
                </a:lnTo>
                <a:lnTo>
                  <a:pt x="2281" y="6773"/>
                </a:lnTo>
                <a:lnTo>
                  <a:pt x="2291" y="6852"/>
                </a:lnTo>
                <a:lnTo>
                  <a:pt x="2298" y="6932"/>
                </a:lnTo>
                <a:lnTo>
                  <a:pt x="2303" y="7013"/>
                </a:lnTo>
                <a:lnTo>
                  <a:pt x="2307" y="7092"/>
                </a:lnTo>
                <a:lnTo>
                  <a:pt x="2309" y="7171"/>
                </a:lnTo>
                <a:lnTo>
                  <a:pt x="2311" y="7252"/>
                </a:lnTo>
                <a:lnTo>
                  <a:pt x="2309" y="7331"/>
                </a:lnTo>
                <a:lnTo>
                  <a:pt x="2307" y="7411"/>
                </a:lnTo>
                <a:lnTo>
                  <a:pt x="2303" y="7490"/>
                </a:lnTo>
                <a:lnTo>
                  <a:pt x="2298" y="7571"/>
                </a:lnTo>
                <a:lnTo>
                  <a:pt x="2291" y="7650"/>
                </a:lnTo>
                <a:lnTo>
                  <a:pt x="2281" y="7730"/>
                </a:lnTo>
                <a:lnTo>
                  <a:pt x="2272" y="7809"/>
                </a:lnTo>
                <a:lnTo>
                  <a:pt x="2259" y="7888"/>
                </a:lnTo>
                <a:lnTo>
                  <a:pt x="2246" y="7967"/>
                </a:lnTo>
                <a:lnTo>
                  <a:pt x="2230" y="8045"/>
                </a:lnTo>
                <a:lnTo>
                  <a:pt x="2214" y="8123"/>
                </a:lnTo>
                <a:lnTo>
                  <a:pt x="2195" y="8202"/>
                </a:lnTo>
                <a:lnTo>
                  <a:pt x="2175" y="8279"/>
                </a:lnTo>
                <a:lnTo>
                  <a:pt x="2153" y="8356"/>
                </a:lnTo>
                <a:lnTo>
                  <a:pt x="2130" y="8433"/>
                </a:lnTo>
                <a:lnTo>
                  <a:pt x="2105" y="8508"/>
                </a:lnTo>
                <a:lnTo>
                  <a:pt x="229" y="14058"/>
                </a:lnTo>
                <a:lnTo>
                  <a:pt x="220" y="14089"/>
                </a:lnTo>
                <a:lnTo>
                  <a:pt x="209" y="14118"/>
                </a:lnTo>
                <a:lnTo>
                  <a:pt x="198" y="14147"/>
                </a:lnTo>
                <a:lnTo>
                  <a:pt x="185" y="14175"/>
                </a:lnTo>
                <a:lnTo>
                  <a:pt x="173" y="14205"/>
                </a:lnTo>
                <a:lnTo>
                  <a:pt x="161" y="14233"/>
                </a:lnTo>
                <a:lnTo>
                  <a:pt x="149" y="14261"/>
                </a:lnTo>
                <a:lnTo>
                  <a:pt x="135" y="14289"/>
                </a:lnTo>
                <a:lnTo>
                  <a:pt x="204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9" name="Freeform 9"/>
          <p:cNvSpPr>
            <a:spLocks/>
          </p:cNvSpPr>
          <p:nvPr/>
        </p:nvSpPr>
        <p:spPr bwMode="auto">
          <a:xfrm>
            <a:off x="6128756" y="5889634"/>
            <a:ext cx="600703" cy="1228725"/>
          </a:xfrm>
          <a:custGeom>
            <a:avLst/>
            <a:gdLst/>
            <a:ahLst/>
            <a:cxnLst>
              <a:cxn ang="0">
                <a:pos x="0" y="2300"/>
              </a:cxn>
              <a:cxn ang="0">
                <a:pos x="846" y="0"/>
              </a:cxn>
              <a:cxn ang="0">
                <a:pos x="902" y="21"/>
              </a:cxn>
              <a:cxn ang="0">
                <a:pos x="56" y="2321"/>
              </a:cxn>
              <a:cxn ang="0">
                <a:pos x="0" y="2300"/>
              </a:cxn>
            </a:cxnLst>
            <a:rect l="0" t="0" r="r" b="b"/>
            <a:pathLst>
              <a:path w="902" h="2321">
                <a:moveTo>
                  <a:pt x="0" y="2300"/>
                </a:moveTo>
                <a:lnTo>
                  <a:pt x="846" y="0"/>
                </a:lnTo>
                <a:lnTo>
                  <a:pt x="902" y="21"/>
                </a:lnTo>
                <a:lnTo>
                  <a:pt x="56" y="2321"/>
                </a:lnTo>
                <a:lnTo>
                  <a:pt x="0" y="2300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30" name="Freeform 10"/>
          <p:cNvSpPr>
            <a:spLocks/>
          </p:cNvSpPr>
          <p:nvPr/>
        </p:nvSpPr>
        <p:spPr bwMode="auto">
          <a:xfrm>
            <a:off x="12351310" y="1533534"/>
            <a:ext cx="720444" cy="1603375"/>
          </a:xfrm>
          <a:custGeom>
            <a:avLst/>
            <a:gdLst/>
            <a:ahLst/>
            <a:cxnLst>
              <a:cxn ang="0">
                <a:pos x="0" y="26"/>
              </a:cxn>
              <a:cxn ang="0">
                <a:pos x="1021" y="3029"/>
              </a:cxn>
              <a:cxn ang="0">
                <a:pos x="1037" y="3028"/>
              </a:cxn>
              <a:cxn ang="0">
                <a:pos x="1050" y="3025"/>
              </a:cxn>
              <a:cxn ang="0">
                <a:pos x="1061" y="3021"/>
              </a:cxn>
              <a:cxn ang="0">
                <a:pos x="1070" y="3017"/>
              </a:cxn>
              <a:cxn ang="0">
                <a:pos x="1080" y="3011"/>
              </a:cxn>
              <a:cxn ang="0">
                <a:pos x="1083" y="3009"/>
              </a:cxn>
              <a:cxn ang="0">
                <a:pos x="62" y="0"/>
              </a:cxn>
              <a:cxn ang="0">
                <a:pos x="0" y="26"/>
              </a:cxn>
            </a:cxnLst>
            <a:rect l="0" t="0" r="r" b="b"/>
            <a:pathLst>
              <a:path w="1083" h="3029">
                <a:moveTo>
                  <a:pt x="0" y="26"/>
                </a:moveTo>
                <a:lnTo>
                  <a:pt x="1021" y="3029"/>
                </a:lnTo>
                <a:lnTo>
                  <a:pt x="1037" y="3028"/>
                </a:lnTo>
                <a:lnTo>
                  <a:pt x="1050" y="3025"/>
                </a:lnTo>
                <a:lnTo>
                  <a:pt x="1061" y="3021"/>
                </a:lnTo>
                <a:lnTo>
                  <a:pt x="1070" y="3017"/>
                </a:lnTo>
                <a:lnTo>
                  <a:pt x="1080" y="3011"/>
                </a:lnTo>
                <a:lnTo>
                  <a:pt x="1083" y="3009"/>
                </a:lnTo>
                <a:lnTo>
                  <a:pt x="62" y="0"/>
                </a:lnTo>
                <a:lnTo>
                  <a:pt x="0" y="26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0" hasCustomPrompt="1"/>
          </p:nvPr>
        </p:nvSpPr>
        <p:spPr>
          <a:xfrm>
            <a:off x="4780364" y="2052439"/>
            <a:ext cx="5431387" cy="2592388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b="1">
                <a:solidFill>
                  <a:srgbClr val="32B9CD"/>
                </a:solidFill>
                <a:latin typeface="Exo 2" pitchFamily="50" charset="0"/>
              </a:defRPr>
            </a:lvl1pPr>
            <a:lvl2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2pPr>
            <a:lvl3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3pPr>
            <a:lvl4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4pPr>
            <a:lvl5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 texto de agradecimento.</a:t>
            </a:r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1" hasCustomPrompt="1"/>
          </p:nvPr>
        </p:nvSpPr>
        <p:spPr>
          <a:xfrm>
            <a:off x="6848240" y="5965785"/>
            <a:ext cx="4798598" cy="115257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514" baseline="0">
                <a:solidFill>
                  <a:srgbClr val="32B9CD"/>
                </a:solidFill>
              </a:defRPr>
            </a:lvl1pPr>
            <a:lvl2pPr>
              <a:buNone/>
              <a:defRPr sz="2011">
                <a:solidFill>
                  <a:srgbClr val="32B9CD"/>
                </a:solidFill>
              </a:defRPr>
            </a:lvl2pPr>
            <a:lvl3pPr>
              <a:buNone/>
              <a:defRPr sz="1760">
                <a:solidFill>
                  <a:srgbClr val="32B9CD"/>
                </a:solidFill>
              </a:defRPr>
            </a:lvl3pPr>
            <a:lvl4pPr>
              <a:buNone/>
              <a:defRPr sz="1509">
                <a:solidFill>
                  <a:srgbClr val="32B9CD"/>
                </a:solidFill>
              </a:defRPr>
            </a:lvl4pPr>
            <a:lvl5pPr>
              <a:buNone/>
              <a:defRPr sz="1509">
                <a:solidFill>
                  <a:srgbClr val="32B9CD"/>
                </a:solidFill>
              </a:defRPr>
            </a:lvl5pPr>
          </a:lstStyle>
          <a:p>
            <a:pPr lvl="0"/>
            <a:r>
              <a:rPr lang="pt-BR" dirty="0"/>
              <a:t>Clique para editar as informações de contatos (endereços, e-mails, telefones, etc.)</a:t>
            </a:r>
          </a:p>
        </p:txBody>
      </p:sp>
      <p:pic>
        <p:nvPicPr>
          <p:cNvPr id="12" name="Imagem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6233" y="6059030"/>
            <a:ext cx="2388263" cy="889932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erramen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AutoShape 3"/>
          <p:cNvSpPr>
            <a:spLocks noChangeAspect="1" noChangeArrowheads="1" noTextEdit="1"/>
          </p:cNvSpPr>
          <p:nvPr userDrawn="1"/>
        </p:nvSpPr>
        <p:spPr bwMode="auto">
          <a:xfrm>
            <a:off x="217531" y="5"/>
            <a:ext cx="13007890" cy="756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5" name="Freeform 5"/>
          <p:cNvSpPr>
            <a:spLocks/>
          </p:cNvSpPr>
          <p:nvPr userDrawn="1"/>
        </p:nvSpPr>
        <p:spPr bwMode="auto">
          <a:xfrm>
            <a:off x="10615062" y="5"/>
            <a:ext cx="1724274" cy="7561263"/>
          </a:xfrm>
          <a:custGeom>
            <a:avLst/>
            <a:gdLst/>
            <a:ahLst/>
            <a:cxnLst>
              <a:cxn ang="0">
                <a:pos x="404" y="14289"/>
              </a:cxn>
              <a:cxn ang="0">
                <a:pos x="432" y="14229"/>
              </a:cxn>
              <a:cxn ang="0">
                <a:pos x="458" y="14169"/>
              </a:cxn>
              <a:cxn ang="0">
                <a:pos x="482" y="14108"/>
              </a:cxn>
              <a:cxn ang="0">
                <a:pos x="504" y="14046"/>
              </a:cxn>
              <a:cxn ang="0">
                <a:pos x="2406" y="8464"/>
              </a:cxn>
              <a:cxn ang="0">
                <a:pos x="2452" y="8307"/>
              </a:cxn>
              <a:cxn ang="0">
                <a:pos x="2493" y="8147"/>
              </a:cxn>
              <a:cxn ang="0">
                <a:pos x="2526" y="7987"/>
              </a:cxn>
              <a:cxn ang="0">
                <a:pos x="2553" y="7824"/>
              </a:cxn>
              <a:cxn ang="0">
                <a:pos x="2572" y="7661"/>
              </a:cxn>
              <a:cxn ang="0">
                <a:pos x="2586" y="7498"/>
              </a:cxn>
              <a:cxn ang="0">
                <a:pos x="2593" y="7334"/>
              </a:cxn>
              <a:cxn ang="0">
                <a:pos x="2593" y="7169"/>
              </a:cxn>
              <a:cxn ang="0">
                <a:pos x="2586" y="7005"/>
              </a:cxn>
              <a:cxn ang="0">
                <a:pos x="2572" y="6841"/>
              </a:cxn>
              <a:cxn ang="0">
                <a:pos x="2553" y="6679"/>
              </a:cxn>
              <a:cxn ang="0">
                <a:pos x="2526" y="6516"/>
              </a:cxn>
              <a:cxn ang="0">
                <a:pos x="2493" y="6356"/>
              </a:cxn>
              <a:cxn ang="0">
                <a:pos x="2452" y="6196"/>
              </a:cxn>
              <a:cxn ang="0">
                <a:pos x="2406" y="6038"/>
              </a:cxn>
              <a:cxn ang="0">
                <a:pos x="503" y="478"/>
              </a:cxn>
              <a:cxn ang="0">
                <a:pos x="455" y="352"/>
              </a:cxn>
              <a:cxn ang="0">
                <a:pos x="400" y="230"/>
              </a:cxn>
              <a:cxn ang="0">
                <a:pos x="338" y="112"/>
              </a:cxn>
              <a:cxn ang="0">
                <a:pos x="268" y="0"/>
              </a:cxn>
              <a:cxn ang="0">
                <a:pos x="23" y="31"/>
              </a:cxn>
              <a:cxn ang="0">
                <a:pos x="68" y="93"/>
              </a:cxn>
              <a:cxn ang="0">
                <a:pos x="111" y="158"/>
              </a:cxn>
              <a:cxn ang="0">
                <a:pos x="151" y="225"/>
              </a:cxn>
              <a:cxn ang="0">
                <a:pos x="189" y="293"/>
              </a:cxn>
              <a:cxn ang="0">
                <a:pos x="223" y="364"/>
              </a:cxn>
              <a:cxn ang="0">
                <a:pos x="255" y="436"/>
              </a:cxn>
              <a:cxn ang="0">
                <a:pos x="283" y="511"/>
              </a:cxn>
              <a:cxn ang="0">
                <a:pos x="2174" y="6030"/>
              </a:cxn>
              <a:cxn ang="0">
                <a:pos x="2221" y="6179"/>
              </a:cxn>
              <a:cxn ang="0">
                <a:pos x="2262" y="6329"/>
              </a:cxn>
              <a:cxn ang="0">
                <a:pos x="2297" y="6481"/>
              </a:cxn>
              <a:cxn ang="0">
                <a:pos x="2325" y="6634"/>
              </a:cxn>
              <a:cxn ang="0">
                <a:pos x="2347" y="6786"/>
              </a:cxn>
              <a:cxn ang="0">
                <a:pos x="2363" y="6942"/>
              </a:cxn>
              <a:cxn ang="0">
                <a:pos x="2372" y="7097"/>
              </a:cxn>
              <a:cxn ang="0">
                <a:pos x="2375" y="7251"/>
              </a:cxn>
              <a:cxn ang="0">
                <a:pos x="2372" y="7406"/>
              </a:cxn>
              <a:cxn ang="0">
                <a:pos x="2363" y="7561"/>
              </a:cxn>
              <a:cxn ang="0">
                <a:pos x="2347" y="7716"/>
              </a:cxn>
              <a:cxn ang="0">
                <a:pos x="2325" y="7869"/>
              </a:cxn>
              <a:cxn ang="0">
                <a:pos x="2297" y="8022"/>
              </a:cxn>
              <a:cxn ang="0">
                <a:pos x="2262" y="8174"/>
              </a:cxn>
              <a:cxn ang="0">
                <a:pos x="2221" y="8324"/>
              </a:cxn>
              <a:cxn ang="0">
                <a:pos x="2174" y="8473"/>
              </a:cxn>
              <a:cxn ang="0">
                <a:pos x="284" y="14016"/>
              </a:cxn>
              <a:cxn ang="0">
                <a:pos x="253" y="14097"/>
              </a:cxn>
              <a:cxn ang="0">
                <a:pos x="217" y="14175"/>
              </a:cxn>
              <a:cxn ang="0">
                <a:pos x="178" y="14251"/>
              </a:cxn>
            </a:cxnLst>
            <a:rect l="0" t="0" r="r" b="b"/>
            <a:pathLst>
              <a:path w="2593" h="14289">
                <a:moveTo>
                  <a:pt x="157" y="14289"/>
                </a:moveTo>
                <a:lnTo>
                  <a:pt x="404" y="14289"/>
                </a:lnTo>
                <a:lnTo>
                  <a:pt x="418" y="14260"/>
                </a:lnTo>
                <a:lnTo>
                  <a:pt x="432" y="14229"/>
                </a:lnTo>
                <a:lnTo>
                  <a:pt x="446" y="14200"/>
                </a:lnTo>
                <a:lnTo>
                  <a:pt x="458" y="14169"/>
                </a:lnTo>
                <a:lnTo>
                  <a:pt x="470" y="14139"/>
                </a:lnTo>
                <a:lnTo>
                  <a:pt x="482" y="14108"/>
                </a:lnTo>
                <a:lnTo>
                  <a:pt x="493" y="14076"/>
                </a:lnTo>
                <a:lnTo>
                  <a:pt x="504" y="14046"/>
                </a:lnTo>
                <a:lnTo>
                  <a:pt x="2380" y="8543"/>
                </a:lnTo>
                <a:lnTo>
                  <a:pt x="2406" y="8464"/>
                </a:lnTo>
                <a:lnTo>
                  <a:pt x="2430" y="8386"/>
                </a:lnTo>
                <a:lnTo>
                  <a:pt x="2452" y="8307"/>
                </a:lnTo>
                <a:lnTo>
                  <a:pt x="2473" y="8227"/>
                </a:lnTo>
                <a:lnTo>
                  <a:pt x="2493" y="8147"/>
                </a:lnTo>
                <a:lnTo>
                  <a:pt x="2510" y="8067"/>
                </a:lnTo>
                <a:lnTo>
                  <a:pt x="2526" y="7987"/>
                </a:lnTo>
                <a:lnTo>
                  <a:pt x="2540" y="7905"/>
                </a:lnTo>
                <a:lnTo>
                  <a:pt x="2553" y="7824"/>
                </a:lnTo>
                <a:lnTo>
                  <a:pt x="2564" y="7742"/>
                </a:lnTo>
                <a:lnTo>
                  <a:pt x="2572" y="7661"/>
                </a:lnTo>
                <a:lnTo>
                  <a:pt x="2579" y="7580"/>
                </a:lnTo>
                <a:lnTo>
                  <a:pt x="2586" y="7498"/>
                </a:lnTo>
                <a:lnTo>
                  <a:pt x="2590" y="7416"/>
                </a:lnTo>
                <a:lnTo>
                  <a:pt x="2593" y="7334"/>
                </a:lnTo>
                <a:lnTo>
                  <a:pt x="2593" y="7251"/>
                </a:lnTo>
                <a:lnTo>
                  <a:pt x="2593" y="7169"/>
                </a:lnTo>
                <a:lnTo>
                  <a:pt x="2590" y="7087"/>
                </a:lnTo>
                <a:lnTo>
                  <a:pt x="2586" y="7005"/>
                </a:lnTo>
                <a:lnTo>
                  <a:pt x="2579" y="6923"/>
                </a:lnTo>
                <a:lnTo>
                  <a:pt x="2572" y="6841"/>
                </a:lnTo>
                <a:lnTo>
                  <a:pt x="2564" y="6761"/>
                </a:lnTo>
                <a:lnTo>
                  <a:pt x="2553" y="6679"/>
                </a:lnTo>
                <a:lnTo>
                  <a:pt x="2540" y="6598"/>
                </a:lnTo>
                <a:lnTo>
                  <a:pt x="2526" y="6516"/>
                </a:lnTo>
                <a:lnTo>
                  <a:pt x="2510" y="6436"/>
                </a:lnTo>
                <a:lnTo>
                  <a:pt x="2493" y="6356"/>
                </a:lnTo>
                <a:lnTo>
                  <a:pt x="2473" y="6276"/>
                </a:lnTo>
                <a:lnTo>
                  <a:pt x="2452" y="6196"/>
                </a:lnTo>
                <a:lnTo>
                  <a:pt x="2430" y="6117"/>
                </a:lnTo>
                <a:lnTo>
                  <a:pt x="2406" y="6038"/>
                </a:lnTo>
                <a:lnTo>
                  <a:pt x="2380" y="5960"/>
                </a:lnTo>
                <a:lnTo>
                  <a:pt x="503" y="478"/>
                </a:lnTo>
                <a:lnTo>
                  <a:pt x="480" y="414"/>
                </a:lnTo>
                <a:lnTo>
                  <a:pt x="455" y="352"/>
                </a:lnTo>
                <a:lnTo>
                  <a:pt x="429" y="290"/>
                </a:lnTo>
                <a:lnTo>
                  <a:pt x="400" y="230"/>
                </a:lnTo>
                <a:lnTo>
                  <a:pt x="370" y="170"/>
                </a:lnTo>
                <a:lnTo>
                  <a:pt x="338" y="112"/>
                </a:lnTo>
                <a:lnTo>
                  <a:pt x="304" y="55"/>
                </a:lnTo>
                <a:lnTo>
                  <a:pt x="268" y="0"/>
                </a:lnTo>
                <a:lnTo>
                  <a:pt x="0" y="0"/>
                </a:lnTo>
                <a:lnTo>
                  <a:pt x="23" y="31"/>
                </a:lnTo>
                <a:lnTo>
                  <a:pt x="46" y="61"/>
                </a:lnTo>
                <a:lnTo>
                  <a:pt x="68" y="93"/>
                </a:lnTo>
                <a:lnTo>
                  <a:pt x="90" y="126"/>
                </a:lnTo>
                <a:lnTo>
                  <a:pt x="111" y="158"/>
                </a:lnTo>
                <a:lnTo>
                  <a:pt x="132" y="191"/>
                </a:lnTo>
                <a:lnTo>
                  <a:pt x="151" y="225"/>
                </a:lnTo>
                <a:lnTo>
                  <a:pt x="169" y="259"/>
                </a:lnTo>
                <a:lnTo>
                  <a:pt x="189" y="293"/>
                </a:lnTo>
                <a:lnTo>
                  <a:pt x="206" y="329"/>
                </a:lnTo>
                <a:lnTo>
                  <a:pt x="223" y="364"/>
                </a:lnTo>
                <a:lnTo>
                  <a:pt x="239" y="400"/>
                </a:lnTo>
                <a:lnTo>
                  <a:pt x="255" y="436"/>
                </a:lnTo>
                <a:lnTo>
                  <a:pt x="270" y="473"/>
                </a:lnTo>
                <a:lnTo>
                  <a:pt x="283" y="511"/>
                </a:lnTo>
                <a:lnTo>
                  <a:pt x="297" y="549"/>
                </a:lnTo>
                <a:lnTo>
                  <a:pt x="2174" y="6030"/>
                </a:lnTo>
                <a:lnTo>
                  <a:pt x="2198" y="6104"/>
                </a:lnTo>
                <a:lnTo>
                  <a:pt x="2221" y="6179"/>
                </a:lnTo>
                <a:lnTo>
                  <a:pt x="2242" y="6254"/>
                </a:lnTo>
                <a:lnTo>
                  <a:pt x="2262" y="6329"/>
                </a:lnTo>
                <a:lnTo>
                  <a:pt x="2280" y="6405"/>
                </a:lnTo>
                <a:lnTo>
                  <a:pt x="2297" y="6481"/>
                </a:lnTo>
                <a:lnTo>
                  <a:pt x="2312" y="6557"/>
                </a:lnTo>
                <a:lnTo>
                  <a:pt x="2325" y="6634"/>
                </a:lnTo>
                <a:lnTo>
                  <a:pt x="2336" y="6711"/>
                </a:lnTo>
                <a:lnTo>
                  <a:pt x="2347" y="6786"/>
                </a:lnTo>
                <a:lnTo>
                  <a:pt x="2356" y="6865"/>
                </a:lnTo>
                <a:lnTo>
                  <a:pt x="2363" y="6942"/>
                </a:lnTo>
                <a:lnTo>
                  <a:pt x="2368" y="7019"/>
                </a:lnTo>
                <a:lnTo>
                  <a:pt x="2372" y="7097"/>
                </a:lnTo>
                <a:lnTo>
                  <a:pt x="2374" y="7174"/>
                </a:lnTo>
                <a:lnTo>
                  <a:pt x="2375" y="7251"/>
                </a:lnTo>
                <a:lnTo>
                  <a:pt x="2374" y="7329"/>
                </a:lnTo>
                <a:lnTo>
                  <a:pt x="2372" y="7406"/>
                </a:lnTo>
                <a:lnTo>
                  <a:pt x="2368" y="7484"/>
                </a:lnTo>
                <a:lnTo>
                  <a:pt x="2363" y="7561"/>
                </a:lnTo>
                <a:lnTo>
                  <a:pt x="2356" y="7638"/>
                </a:lnTo>
                <a:lnTo>
                  <a:pt x="2347" y="7716"/>
                </a:lnTo>
                <a:lnTo>
                  <a:pt x="2336" y="7792"/>
                </a:lnTo>
                <a:lnTo>
                  <a:pt x="2325" y="7869"/>
                </a:lnTo>
                <a:lnTo>
                  <a:pt x="2312" y="7946"/>
                </a:lnTo>
                <a:lnTo>
                  <a:pt x="2297" y="8022"/>
                </a:lnTo>
                <a:lnTo>
                  <a:pt x="2280" y="8098"/>
                </a:lnTo>
                <a:lnTo>
                  <a:pt x="2262" y="8174"/>
                </a:lnTo>
                <a:lnTo>
                  <a:pt x="2242" y="8249"/>
                </a:lnTo>
                <a:lnTo>
                  <a:pt x="2221" y="8324"/>
                </a:lnTo>
                <a:lnTo>
                  <a:pt x="2198" y="8398"/>
                </a:lnTo>
                <a:lnTo>
                  <a:pt x="2174" y="8473"/>
                </a:lnTo>
                <a:lnTo>
                  <a:pt x="298" y="13975"/>
                </a:lnTo>
                <a:lnTo>
                  <a:pt x="284" y="14016"/>
                </a:lnTo>
                <a:lnTo>
                  <a:pt x="268" y="14057"/>
                </a:lnTo>
                <a:lnTo>
                  <a:pt x="253" y="14097"/>
                </a:lnTo>
                <a:lnTo>
                  <a:pt x="234" y="14136"/>
                </a:lnTo>
                <a:lnTo>
                  <a:pt x="217" y="14175"/>
                </a:lnTo>
                <a:lnTo>
                  <a:pt x="198" y="14213"/>
                </a:lnTo>
                <a:lnTo>
                  <a:pt x="178" y="14251"/>
                </a:lnTo>
                <a:lnTo>
                  <a:pt x="157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6" name="Freeform 6"/>
          <p:cNvSpPr>
            <a:spLocks/>
          </p:cNvSpPr>
          <p:nvPr userDrawn="1"/>
        </p:nvSpPr>
        <p:spPr bwMode="auto">
          <a:xfrm>
            <a:off x="4524" y="5"/>
            <a:ext cx="4258797" cy="7561263"/>
          </a:xfrm>
          <a:custGeom>
            <a:avLst/>
            <a:gdLst/>
            <a:ahLst/>
            <a:cxnLst>
              <a:cxn ang="0">
                <a:pos x="4040" y="14255"/>
              </a:cxn>
              <a:cxn ang="0">
                <a:pos x="3989" y="14151"/>
              </a:cxn>
              <a:cxn ang="0">
                <a:pos x="3945" y="14043"/>
              </a:cxn>
              <a:cxn ang="0">
                <a:pos x="6224" y="5647"/>
              </a:cxn>
              <a:cxn ang="0">
                <a:pos x="6284" y="5449"/>
              </a:cxn>
              <a:cxn ang="0">
                <a:pos x="6332" y="5248"/>
              </a:cxn>
              <a:cxn ang="0">
                <a:pos x="6367" y="5044"/>
              </a:cxn>
              <a:cxn ang="0">
                <a:pos x="6389" y="4838"/>
              </a:cxn>
              <a:cxn ang="0">
                <a:pos x="6400" y="4632"/>
              </a:cxn>
              <a:cxn ang="0">
                <a:pos x="6398" y="4425"/>
              </a:cxn>
              <a:cxn ang="0">
                <a:pos x="6383" y="4219"/>
              </a:cxn>
              <a:cxn ang="0">
                <a:pos x="6356" y="4013"/>
              </a:cxn>
              <a:cxn ang="0">
                <a:pos x="6317" y="3811"/>
              </a:cxn>
              <a:cxn ang="0">
                <a:pos x="6266" y="3610"/>
              </a:cxn>
              <a:cxn ang="0">
                <a:pos x="5039" y="0"/>
              </a:cxn>
              <a:cxn ang="0">
                <a:pos x="6186" y="3562"/>
              </a:cxn>
              <a:cxn ang="0">
                <a:pos x="6241" y="3759"/>
              </a:cxn>
              <a:cxn ang="0">
                <a:pos x="6284" y="3957"/>
              </a:cxn>
              <a:cxn ang="0">
                <a:pos x="6315" y="4158"/>
              </a:cxn>
              <a:cxn ang="0">
                <a:pos x="6333" y="4361"/>
              </a:cxn>
              <a:cxn ang="0">
                <a:pos x="6339" y="4563"/>
              </a:cxn>
              <a:cxn ang="0">
                <a:pos x="6333" y="4765"/>
              </a:cxn>
              <a:cxn ang="0">
                <a:pos x="6315" y="4968"/>
              </a:cxn>
              <a:cxn ang="0">
                <a:pos x="6284" y="5168"/>
              </a:cxn>
              <a:cxn ang="0">
                <a:pos x="6241" y="5366"/>
              </a:cxn>
              <a:cxn ang="0">
                <a:pos x="6186" y="5562"/>
              </a:cxn>
              <a:cxn ang="0">
                <a:pos x="2009" y="8528"/>
              </a:cxn>
              <a:cxn ang="0">
                <a:pos x="1937" y="8298"/>
              </a:cxn>
              <a:cxn ang="0">
                <a:pos x="1880" y="8066"/>
              </a:cxn>
              <a:cxn ang="0">
                <a:pos x="1838" y="7831"/>
              </a:cxn>
              <a:cxn ang="0">
                <a:pos x="1811" y="7595"/>
              </a:cxn>
              <a:cxn ang="0">
                <a:pos x="1799" y="7357"/>
              </a:cxn>
              <a:cxn ang="0">
                <a:pos x="1801" y="7119"/>
              </a:cxn>
              <a:cxn ang="0">
                <a:pos x="1819" y="6882"/>
              </a:cxn>
              <a:cxn ang="0">
                <a:pos x="1850" y="6645"/>
              </a:cxn>
              <a:cxn ang="0">
                <a:pos x="1898" y="6411"/>
              </a:cxn>
              <a:cxn ang="0">
                <a:pos x="1959" y="6180"/>
              </a:cxn>
              <a:cxn ang="0">
                <a:pos x="3930" y="524"/>
              </a:cxn>
              <a:cxn ang="0">
                <a:pos x="3971" y="418"/>
              </a:cxn>
              <a:cxn ang="0">
                <a:pos x="4018" y="314"/>
              </a:cxn>
              <a:cxn ang="0">
                <a:pos x="4072" y="215"/>
              </a:cxn>
              <a:cxn ang="0">
                <a:pos x="4131" y="120"/>
              </a:cxn>
              <a:cxn ang="0">
                <a:pos x="4196" y="29"/>
              </a:cxn>
              <a:cxn ang="0">
                <a:pos x="0" y="14289"/>
              </a:cxn>
            </a:cxnLst>
            <a:rect l="0" t="0" r="r" b="b"/>
            <a:pathLst>
              <a:path w="6401" h="14289">
                <a:moveTo>
                  <a:pt x="0" y="14289"/>
                </a:moveTo>
                <a:lnTo>
                  <a:pt x="4059" y="14289"/>
                </a:lnTo>
                <a:lnTo>
                  <a:pt x="4040" y="14255"/>
                </a:lnTo>
                <a:lnTo>
                  <a:pt x="4022" y="14221"/>
                </a:lnTo>
                <a:lnTo>
                  <a:pt x="4005" y="14186"/>
                </a:lnTo>
                <a:lnTo>
                  <a:pt x="3989" y="14151"/>
                </a:lnTo>
                <a:lnTo>
                  <a:pt x="3973" y="14115"/>
                </a:lnTo>
                <a:lnTo>
                  <a:pt x="3958" y="14080"/>
                </a:lnTo>
                <a:lnTo>
                  <a:pt x="3945" y="14043"/>
                </a:lnTo>
                <a:lnTo>
                  <a:pt x="3932" y="14007"/>
                </a:lnTo>
                <a:lnTo>
                  <a:pt x="3554" y="12930"/>
                </a:lnTo>
                <a:lnTo>
                  <a:pt x="6224" y="5647"/>
                </a:lnTo>
                <a:lnTo>
                  <a:pt x="6245" y="5581"/>
                </a:lnTo>
                <a:lnTo>
                  <a:pt x="6266" y="5515"/>
                </a:lnTo>
                <a:lnTo>
                  <a:pt x="6284" y="5449"/>
                </a:lnTo>
                <a:lnTo>
                  <a:pt x="6301" y="5382"/>
                </a:lnTo>
                <a:lnTo>
                  <a:pt x="6317" y="5315"/>
                </a:lnTo>
                <a:lnTo>
                  <a:pt x="6332" y="5248"/>
                </a:lnTo>
                <a:lnTo>
                  <a:pt x="6345" y="5179"/>
                </a:lnTo>
                <a:lnTo>
                  <a:pt x="6356" y="5112"/>
                </a:lnTo>
                <a:lnTo>
                  <a:pt x="6367" y="5044"/>
                </a:lnTo>
                <a:lnTo>
                  <a:pt x="6376" y="4975"/>
                </a:lnTo>
                <a:lnTo>
                  <a:pt x="6383" y="4907"/>
                </a:lnTo>
                <a:lnTo>
                  <a:pt x="6389" y="4838"/>
                </a:lnTo>
                <a:lnTo>
                  <a:pt x="6394" y="4770"/>
                </a:lnTo>
                <a:lnTo>
                  <a:pt x="6398" y="4700"/>
                </a:lnTo>
                <a:lnTo>
                  <a:pt x="6400" y="4632"/>
                </a:lnTo>
                <a:lnTo>
                  <a:pt x="6401" y="4563"/>
                </a:lnTo>
                <a:lnTo>
                  <a:pt x="6400" y="4494"/>
                </a:lnTo>
                <a:lnTo>
                  <a:pt x="6398" y="4425"/>
                </a:lnTo>
                <a:lnTo>
                  <a:pt x="6394" y="4357"/>
                </a:lnTo>
                <a:lnTo>
                  <a:pt x="6389" y="4287"/>
                </a:lnTo>
                <a:lnTo>
                  <a:pt x="6383" y="4219"/>
                </a:lnTo>
                <a:lnTo>
                  <a:pt x="6376" y="4150"/>
                </a:lnTo>
                <a:lnTo>
                  <a:pt x="6367" y="4082"/>
                </a:lnTo>
                <a:lnTo>
                  <a:pt x="6356" y="4013"/>
                </a:lnTo>
                <a:lnTo>
                  <a:pt x="6345" y="3946"/>
                </a:lnTo>
                <a:lnTo>
                  <a:pt x="6332" y="3878"/>
                </a:lnTo>
                <a:lnTo>
                  <a:pt x="6317" y="3811"/>
                </a:lnTo>
                <a:lnTo>
                  <a:pt x="6301" y="3743"/>
                </a:lnTo>
                <a:lnTo>
                  <a:pt x="6284" y="3677"/>
                </a:lnTo>
                <a:lnTo>
                  <a:pt x="6266" y="3610"/>
                </a:lnTo>
                <a:lnTo>
                  <a:pt x="6245" y="3544"/>
                </a:lnTo>
                <a:lnTo>
                  <a:pt x="6224" y="3478"/>
                </a:lnTo>
                <a:lnTo>
                  <a:pt x="5039" y="0"/>
                </a:lnTo>
                <a:lnTo>
                  <a:pt x="4973" y="0"/>
                </a:lnTo>
                <a:lnTo>
                  <a:pt x="6164" y="3498"/>
                </a:lnTo>
                <a:lnTo>
                  <a:pt x="6186" y="3562"/>
                </a:lnTo>
                <a:lnTo>
                  <a:pt x="6206" y="3627"/>
                </a:lnTo>
                <a:lnTo>
                  <a:pt x="6224" y="3693"/>
                </a:lnTo>
                <a:lnTo>
                  <a:pt x="6241" y="3759"/>
                </a:lnTo>
                <a:lnTo>
                  <a:pt x="6256" y="3825"/>
                </a:lnTo>
                <a:lnTo>
                  <a:pt x="6271" y="3891"/>
                </a:lnTo>
                <a:lnTo>
                  <a:pt x="6284" y="3957"/>
                </a:lnTo>
                <a:lnTo>
                  <a:pt x="6295" y="4024"/>
                </a:lnTo>
                <a:lnTo>
                  <a:pt x="6305" y="4090"/>
                </a:lnTo>
                <a:lnTo>
                  <a:pt x="6315" y="4158"/>
                </a:lnTo>
                <a:lnTo>
                  <a:pt x="6322" y="4225"/>
                </a:lnTo>
                <a:lnTo>
                  <a:pt x="6328" y="4292"/>
                </a:lnTo>
                <a:lnTo>
                  <a:pt x="6333" y="4361"/>
                </a:lnTo>
                <a:lnTo>
                  <a:pt x="6335" y="4428"/>
                </a:lnTo>
                <a:lnTo>
                  <a:pt x="6338" y="4495"/>
                </a:lnTo>
                <a:lnTo>
                  <a:pt x="6339" y="4563"/>
                </a:lnTo>
                <a:lnTo>
                  <a:pt x="6338" y="4631"/>
                </a:lnTo>
                <a:lnTo>
                  <a:pt x="6335" y="4698"/>
                </a:lnTo>
                <a:lnTo>
                  <a:pt x="6333" y="4765"/>
                </a:lnTo>
                <a:lnTo>
                  <a:pt x="6328" y="4833"/>
                </a:lnTo>
                <a:lnTo>
                  <a:pt x="6322" y="4901"/>
                </a:lnTo>
                <a:lnTo>
                  <a:pt x="6315" y="4968"/>
                </a:lnTo>
                <a:lnTo>
                  <a:pt x="6305" y="5035"/>
                </a:lnTo>
                <a:lnTo>
                  <a:pt x="6295" y="5101"/>
                </a:lnTo>
                <a:lnTo>
                  <a:pt x="6284" y="5168"/>
                </a:lnTo>
                <a:lnTo>
                  <a:pt x="6271" y="5234"/>
                </a:lnTo>
                <a:lnTo>
                  <a:pt x="6257" y="5300"/>
                </a:lnTo>
                <a:lnTo>
                  <a:pt x="6241" y="5366"/>
                </a:lnTo>
                <a:lnTo>
                  <a:pt x="6224" y="5432"/>
                </a:lnTo>
                <a:lnTo>
                  <a:pt x="6206" y="5497"/>
                </a:lnTo>
                <a:lnTo>
                  <a:pt x="6186" y="5562"/>
                </a:lnTo>
                <a:lnTo>
                  <a:pt x="6166" y="5627"/>
                </a:lnTo>
                <a:lnTo>
                  <a:pt x="3521" y="12838"/>
                </a:lnTo>
                <a:lnTo>
                  <a:pt x="2009" y="8528"/>
                </a:lnTo>
                <a:lnTo>
                  <a:pt x="1984" y="8451"/>
                </a:lnTo>
                <a:lnTo>
                  <a:pt x="1959" y="8375"/>
                </a:lnTo>
                <a:lnTo>
                  <a:pt x="1937" y="8298"/>
                </a:lnTo>
                <a:lnTo>
                  <a:pt x="1916" y="8221"/>
                </a:lnTo>
                <a:lnTo>
                  <a:pt x="1898" y="8144"/>
                </a:lnTo>
                <a:lnTo>
                  <a:pt x="1880" y="8066"/>
                </a:lnTo>
                <a:lnTo>
                  <a:pt x="1865" y="7989"/>
                </a:lnTo>
                <a:lnTo>
                  <a:pt x="1850" y="7911"/>
                </a:lnTo>
                <a:lnTo>
                  <a:pt x="1838" y="7831"/>
                </a:lnTo>
                <a:lnTo>
                  <a:pt x="1827" y="7753"/>
                </a:lnTo>
                <a:lnTo>
                  <a:pt x="1819" y="7674"/>
                </a:lnTo>
                <a:lnTo>
                  <a:pt x="1811" y="7595"/>
                </a:lnTo>
                <a:lnTo>
                  <a:pt x="1805" y="7516"/>
                </a:lnTo>
                <a:lnTo>
                  <a:pt x="1801" y="7437"/>
                </a:lnTo>
                <a:lnTo>
                  <a:pt x="1799" y="7357"/>
                </a:lnTo>
                <a:lnTo>
                  <a:pt x="1798" y="7278"/>
                </a:lnTo>
                <a:lnTo>
                  <a:pt x="1799" y="7198"/>
                </a:lnTo>
                <a:lnTo>
                  <a:pt x="1801" y="7119"/>
                </a:lnTo>
                <a:lnTo>
                  <a:pt x="1805" y="7039"/>
                </a:lnTo>
                <a:lnTo>
                  <a:pt x="1811" y="6960"/>
                </a:lnTo>
                <a:lnTo>
                  <a:pt x="1819" y="6882"/>
                </a:lnTo>
                <a:lnTo>
                  <a:pt x="1827" y="6802"/>
                </a:lnTo>
                <a:lnTo>
                  <a:pt x="1838" y="6724"/>
                </a:lnTo>
                <a:lnTo>
                  <a:pt x="1850" y="6645"/>
                </a:lnTo>
                <a:lnTo>
                  <a:pt x="1865" y="6566"/>
                </a:lnTo>
                <a:lnTo>
                  <a:pt x="1881" y="6488"/>
                </a:lnTo>
                <a:lnTo>
                  <a:pt x="1898" y="6411"/>
                </a:lnTo>
                <a:lnTo>
                  <a:pt x="1916" y="6334"/>
                </a:lnTo>
                <a:lnTo>
                  <a:pt x="1937" y="6256"/>
                </a:lnTo>
                <a:lnTo>
                  <a:pt x="1959" y="6180"/>
                </a:lnTo>
                <a:lnTo>
                  <a:pt x="1984" y="6103"/>
                </a:lnTo>
                <a:lnTo>
                  <a:pt x="2009" y="6027"/>
                </a:lnTo>
                <a:lnTo>
                  <a:pt x="3930" y="524"/>
                </a:lnTo>
                <a:lnTo>
                  <a:pt x="3943" y="488"/>
                </a:lnTo>
                <a:lnTo>
                  <a:pt x="3957" y="452"/>
                </a:lnTo>
                <a:lnTo>
                  <a:pt x="3971" y="418"/>
                </a:lnTo>
                <a:lnTo>
                  <a:pt x="3987" y="383"/>
                </a:lnTo>
                <a:lnTo>
                  <a:pt x="4002" y="348"/>
                </a:lnTo>
                <a:lnTo>
                  <a:pt x="4018" y="314"/>
                </a:lnTo>
                <a:lnTo>
                  <a:pt x="4035" y="281"/>
                </a:lnTo>
                <a:lnTo>
                  <a:pt x="4054" y="248"/>
                </a:lnTo>
                <a:lnTo>
                  <a:pt x="4072" y="215"/>
                </a:lnTo>
                <a:lnTo>
                  <a:pt x="4090" y="183"/>
                </a:lnTo>
                <a:lnTo>
                  <a:pt x="4110" y="152"/>
                </a:lnTo>
                <a:lnTo>
                  <a:pt x="4131" y="120"/>
                </a:lnTo>
                <a:lnTo>
                  <a:pt x="4152" y="89"/>
                </a:lnTo>
                <a:lnTo>
                  <a:pt x="4174" y="59"/>
                </a:lnTo>
                <a:lnTo>
                  <a:pt x="4196" y="29"/>
                </a:lnTo>
                <a:lnTo>
                  <a:pt x="4218" y="0"/>
                </a:lnTo>
                <a:lnTo>
                  <a:pt x="0" y="0"/>
                </a:lnTo>
                <a:lnTo>
                  <a:pt x="0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7" name="Freeform 7"/>
          <p:cNvSpPr>
            <a:spLocks/>
          </p:cNvSpPr>
          <p:nvPr userDrawn="1"/>
        </p:nvSpPr>
        <p:spPr bwMode="auto">
          <a:xfrm>
            <a:off x="11646838" y="5"/>
            <a:ext cx="1578589" cy="7561263"/>
          </a:xfrm>
          <a:custGeom>
            <a:avLst/>
            <a:gdLst/>
            <a:ahLst/>
            <a:cxnLst>
              <a:cxn ang="0">
                <a:pos x="216" y="14263"/>
              </a:cxn>
              <a:cxn ang="0">
                <a:pos x="238" y="14212"/>
              </a:cxn>
              <a:cxn ang="0">
                <a:pos x="260" y="14159"/>
              </a:cxn>
              <a:cxn ang="0">
                <a:pos x="279" y="14106"/>
              </a:cxn>
              <a:cxn ang="0">
                <a:pos x="2164" y="8529"/>
              </a:cxn>
              <a:cxn ang="0">
                <a:pos x="2213" y="8374"/>
              </a:cxn>
              <a:cxn ang="0">
                <a:pos x="2256" y="8216"/>
              </a:cxn>
              <a:cxn ang="0">
                <a:pos x="2291" y="8057"/>
              </a:cxn>
              <a:cxn ang="0">
                <a:pos x="2320" y="7899"/>
              </a:cxn>
              <a:cxn ang="0">
                <a:pos x="2344" y="7737"/>
              </a:cxn>
              <a:cxn ang="0">
                <a:pos x="2360" y="7576"/>
              </a:cxn>
              <a:cxn ang="0">
                <a:pos x="2369" y="7413"/>
              </a:cxn>
              <a:cxn ang="0">
                <a:pos x="2373" y="7252"/>
              </a:cxn>
              <a:cxn ang="0">
                <a:pos x="2369" y="7090"/>
              </a:cxn>
              <a:cxn ang="0">
                <a:pos x="2360" y="6927"/>
              </a:cxn>
              <a:cxn ang="0">
                <a:pos x="2344" y="6766"/>
              </a:cxn>
              <a:cxn ang="0">
                <a:pos x="2320" y="6604"/>
              </a:cxn>
              <a:cxn ang="0">
                <a:pos x="2291" y="6445"/>
              </a:cxn>
              <a:cxn ang="0">
                <a:pos x="2256" y="6287"/>
              </a:cxn>
              <a:cxn ang="0">
                <a:pos x="2213" y="6129"/>
              </a:cxn>
              <a:cxn ang="0">
                <a:pos x="2164" y="5974"/>
              </a:cxn>
              <a:cxn ang="0">
                <a:pos x="266" y="385"/>
              </a:cxn>
              <a:cxn ang="0">
                <a:pos x="220" y="270"/>
              </a:cxn>
              <a:cxn ang="0">
                <a:pos x="166" y="159"/>
              </a:cxn>
              <a:cxn ang="0">
                <a:pos x="106" y="51"/>
              </a:cxn>
              <a:cxn ang="0">
                <a:pos x="0" y="0"/>
              </a:cxn>
              <a:cxn ang="0">
                <a:pos x="67" y="109"/>
              </a:cxn>
              <a:cxn ang="0">
                <a:pos x="128" y="222"/>
              </a:cxn>
              <a:cxn ang="0">
                <a:pos x="182" y="341"/>
              </a:cxn>
              <a:cxn ang="0">
                <a:pos x="228" y="464"/>
              </a:cxn>
              <a:cxn ang="0">
                <a:pos x="2130" y="6070"/>
              </a:cxn>
              <a:cxn ang="0">
                <a:pos x="2175" y="6224"/>
              </a:cxn>
              <a:cxn ang="0">
                <a:pos x="2214" y="6379"/>
              </a:cxn>
              <a:cxn ang="0">
                <a:pos x="2246" y="6536"/>
              </a:cxn>
              <a:cxn ang="0">
                <a:pos x="2272" y="6694"/>
              </a:cxn>
              <a:cxn ang="0">
                <a:pos x="2291" y="6852"/>
              </a:cxn>
              <a:cxn ang="0">
                <a:pos x="2303" y="7013"/>
              </a:cxn>
              <a:cxn ang="0">
                <a:pos x="2309" y="7171"/>
              </a:cxn>
              <a:cxn ang="0">
                <a:pos x="2309" y="7331"/>
              </a:cxn>
              <a:cxn ang="0">
                <a:pos x="2303" y="7490"/>
              </a:cxn>
              <a:cxn ang="0">
                <a:pos x="2291" y="7650"/>
              </a:cxn>
              <a:cxn ang="0">
                <a:pos x="2272" y="7809"/>
              </a:cxn>
              <a:cxn ang="0">
                <a:pos x="2246" y="7967"/>
              </a:cxn>
              <a:cxn ang="0">
                <a:pos x="2214" y="8123"/>
              </a:cxn>
              <a:cxn ang="0">
                <a:pos x="2175" y="8279"/>
              </a:cxn>
              <a:cxn ang="0">
                <a:pos x="2130" y="8433"/>
              </a:cxn>
              <a:cxn ang="0">
                <a:pos x="229" y="14058"/>
              </a:cxn>
              <a:cxn ang="0">
                <a:pos x="209" y="14118"/>
              </a:cxn>
              <a:cxn ang="0">
                <a:pos x="185" y="14175"/>
              </a:cxn>
              <a:cxn ang="0">
                <a:pos x="161" y="14233"/>
              </a:cxn>
              <a:cxn ang="0">
                <a:pos x="135" y="14289"/>
              </a:cxn>
            </a:cxnLst>
            <a:rect l="0" t="0" r="r" b="b"/>
            <a:pathLst>
              <a:path w="2373" h="14289">
                <a:moveTo>
                  <a:pt x="204" y="14289"/>
                </a:moveTo>
                <a:lnTo>
                  <a:pt x="216" y="14263"/>
                </a:lnTo>
                <a:lnTo>
                  <a:pt x="227" y="14238"/>
                </a:lnTo>
                <a:lnTo>
                  <a:pt x="238" y="14212"/>
                </a:lnTo>
                <a:lnTo>
                  <a:pt x="249" y="14185"/>
                </a:lnTo>
                <a:lnTo>
                  <a:pt x="260" y="14159"/>
                </a:lnTo>
                <a:lnTo>
                  <a:pt x="270" y="14133"/>
                </a:lnTo>
                <a:lnTo>
                  <a:pt x="279" y="14106"/>
                </a:lnTo>
                <a:lnTo>
                  <a:pt x="288" y="14079"/>
                </a:lnTo>
                <a:lnTo>
                  <a:pt x="2164" y="8529"/>
                </a:lnTo>
                <a:lnTo>
                  <a:pt x="2190" y="8451"/>
                </a:lnTo>
                <a:lnTo>
                  <a:pt x="2213" y="8374"/>
                </a:lnTo>
                <a:lnTo>
                  <a:pt x="2235" y="8295"/>
                </a:lnTo>
                <a:lnTo>
                  <a:pt x="2256" y="8216"/>
                </a:lnTo>
                <a:lnTo>
                  <a:pt x="2274" y="8137"/>
                </a:lnTo>
                <a:lnTo>
                  <a:pt x="2291" y="8057"/>
                </a:lnTo>
                <a:lnTo>
                  <a:pt x="2307" y="7978"/>
                </a:lnTo>
                <a:lnTo>
                  <a:pt x="2320" y="7899"/>
                </a:lnTo>
                <a:lnTo>
                  <a:pt x="2333" y="7818"/>
                </a:lnTo>
                <a:lnTo>
                  <a:pt x="2344" y="7737"/>
                </a:lnTo>
                <a:lnTo>
                  <a:pt x="2352" y="7657"/>
                </a:lnTo>
                <a:lnTo>
                  <a:pt x="2360" y="7576"/>
                </a:lnTo>
                <a:lnTo>
                  <a:pt x="2366" y="7495"/>
                </a:lnTo>
                <a:lnTo>
                  <a:pt x="2369" y="7413"/>
                </a:lnTo>
                <a:lnTo>
                  <a:pt x="2372" y="7333"/>
                </a:lnTo>
                <a:lnTo>
                  <a:pt x="2373" y="7252"/>
                </a:lnTo>
                <a:lnTo>
                  <a:pt x="2372" y="7170"/>
                </a:lnTo>
                <a:lnTo>
                  <a:pt x="2369" y="7090"/>
                </a:lnTo>
                <a:lnTo>
                  <a:pt x="2366" y="7008"/>
                </a:lnTo>
                <a:lnTo>
                  <a:pt x="2360" y="6927"/>
                </a:lnTo>
                <a:lnTo>
                  <a:pt x="2352" y="6846"/>
                </a:lnTo>
                <a:lnTo>
                  <a:pt x="2344" y="6766"/>
                </a:lnTo>
                <a:lnTo>
                  <a:pt x="2333" y="6685"/>
                </a:lnTo>
                <a:lnTo>
                  <a:pt x="2320" y="6604"/>
                </a:lnTo>
                <a:lnTo>
                  <a:pt x="2307" y="6525"/>
                </a:lnTo>
                <a:lnTo>
                  <a:pt x="2291" y="6445"/>
                </a:lnTo>
                <a:lnTo>
                  <a:pt x="2274" y="6366"/>
                </a:lnTo>
                <a:lnTo>
                  <a:pt x="2256" y="6287"/>
                </a:lnTo>
                <a:lnTo>
                  <a:pt x="2235" y="6208"/>
                </a:lnTo>
                <a:lnTo>
                  <a:pt x="2213" y="6129"/>
                </a:lnTo>
                <a:lnTo>
                  <a:pt x="2190" y="6052"/>
                </a:lnTo>
                <a:lnTo>
                  <a:pt x="2164" y="5974"/>
                </a:lnTo>
                <a:lnTo>
                  <a:pt x="287" y="445"/>
                </a:lnTo>
                <a:lnTo>
                  <a:pt x="266" y="385"/>
                </a:lnTo>
                <a:lnTo>
                  <a:pt x="244" y="328"/>
                </a:lnTo>
                <a:lnTo>
                  <a:pt x="220" y="270"/>
                </a:lnTo>
                <a:lnTo>
                  <a:pt x="193" y="214"/>
                </a:lnTo>
                <a:lnTo>
                  <a:pt x="166" y="159"/>
                </a:lnTo>
                <a:lnTo>
                  <a:pt x="137" y="105"/>
                </a:lnTo>
                <a:lnTo>
                  <a:pt x="106" y="51"/>
                </a:lnTo>
                <a:lnTo>
                  <a:pt x="74" y="0"/>
                </a:lnTo>
                <a:lnTo>
                  <a:pt x="0" y="0"/>
                </a:lnTo>
                <a:lnTo>
                  <a:pt x="34" y="54"/>
                </a:lnTo>
                <a:lnTo>
                  <a:pt x="67" y="109"/>
                </a:lnTo>
                <a:lnTo>
                  <a:pt x="99" y="165"/>
                </a:lnTo>
                <a:lnTo>
                  <a:pt x="128" y="222"/>
                </a:lnTo>
                <a:lnTo>
                  <a:pt x="156" y="281"/>
                </a:lnTo>
                <a:lnTo>
                  <a:pt x="182" y="341"/>
                </a:lnTo>
                <a:lnTo>
                  <a:pt x="206" y="402"/>
                </a:lnTo>
                <a:lnTo>
                  <a:pt x="228" y="464"/>
                </a:lnTo>
                <a:lnTo>
                  <a:pt x="2105" y="5994"/>
                </a:lnTo>
                <a:lnTo>
                  <a:pt x="2130" y="6070"/>
                </a:lnTo>
                <a:lnTo>
                  <a:pt x="2153" y="6147"/>
                </a:lnTo>
                <a:lnTo>
                  <a:pt x="2175" y="6224"/>
                </a:lnTo>
                <a:lnTo>
                  <a:pt x="2195" y="6301"/>
                </a:lnTo>
                <a:lnTo>
                  <a:pt x="2214" y="6379"/>
                </a:lnTo>
                <a:lnTo>
                  <a:pt x="2230" y="6458"/>
                </a:lnTo>
                <a:lnTo>
                  <a:pt x="2246" y="6536"/>
                </a:lnTo>
                <a:lnTo>
                  <a:pt x="2259" y="6615"/>
                </a:lnTo>
                <a:lnTo>
                  <a:pt x="2272" y="6694"/>
                </a:lnTo>
                <a:lnTo>
                  <a:pt x="2281" y="6773"/>
                </a:lnTo>
                <a:lnTo>
                  <a:pt x="2291" y="6852"/>
                </a:lnTo>
                <a:lnTo>
                  <a:pt x="2298" y="6932"/>
                </a:lnTo>
                <a:lnTo>
                  <a:pt x="2303" y="7013"/>
                </a:lnTo>
                <a:lnTo>
                  <a:pt x="2307" y="7092"/>
                </a:lnTo>
                <a:lnTo>
                  <a:pt x="2309" y="7171"/>
                </a:lnTo>
                <a:lnTo>
                  <a:pt x="2311" y="7252"/>
                </a:lnTo>
                <a:lnTo>
                  <a:pt x="2309" y="7331"/>
                </a:lnTo>
                <a:lnTo>
                  <a:pt x="2307" y="7411"/>
                </a:lnTo>
                <a:lnTo>
                  <a:pt x="2303" y="7490"/>
                </a:lnTo>
                <a:lnTo>
                  <a:pt x="2298" y="7571"/>
                </a:lnTo>
                <a:lnTo>
                  <a:pt x="2291" y="7650"/>
                </a:lnTo>
                <a:lnTo>
                  <a:pt x="2281" y="7730"/>
                </a:lnTo>
                <a:lnTo>
                  <a:pt x="2272" y="7809"/>
                </a:lnTo>
                <a:lnTo>
                  <a:pt x="2259" y="7888"/>
                </a:lnTo>
                <a:lnTo>
                  <a:pt x="2246" y="7967"/>
                </a:lnTo>
                <a:lnTo>
                  <a:pt x="2230" y="8045"/>
                </a:lnTo>
                <a:lnTo>
                  <a:pt x="2214" y="8123"/>
                </a:lnTo>
                <a:lnTo>
                  <a:pt x="2195" y="8202"/>
                </a:lnTo>
                <a:lnTo>
                  <a:pt x="2175" y="8279"/>
                </a:lnTo>
                <a:lnTo>
                  <a:pt x="2153" y="8356"/>
                </a:lnTo>
                <a:lnTo>
                  <a:pt x="2130" y="8433"/>
                </a:lnTo>
                <a:lnTo>
                  <a:pt x="2105" y="8508"/>
                </a:lnTo>
                <a:lnTo>
                  <a:pt x="229" y="14058"/>
                </a:lnTo>
                <a:lnTo>
                  <a:pt x="220" y="14089"/>
                </a:lnTo>
                <a:lnTo>
                  <a:pt x="209" y="14118"/>
                </a:lnTo>
                <a:lnTo>
                  <a:pt x="198" y="14147"/>
                </a:lnTo>
                <a:lnTo>
                  <a:pt x="185" y="14175"/>
                </a:lnTo>
                <a:lnTo>
                  <a:pt x="173" y="14205"/>
                </a:lnTo>
                <a:lnTo>
                  <a:pt x="161" y="14233"/>
                </a:lnTo>
                <a:lnTo>
                  <a:pt x="149" y="14261"/>
                </a:lnTo>
                <a:lnTo>
                  <a:pt x="135" y="14289"/>
                </a:lnTo>
                <a:lnTo>
                  <a:pt x="204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9" name="Freeform 9"/>
          <p:cNvSpPr>
            <a:spLocks/>
          </p:cNvSpPr>
          <p:nvPr userDrawn="1"/>
        </p:nvSpPr>
        <p:spPr bwMode="auto">
          <a:xfrm>
            <a:off x="5675268" y="5889634"/>
            <a:ext cx="600703" cy="1228725"/>
          </a:xfrm>
          <a:custGeom>
            <a:avLst/>
            <a:gdLst/>
            <a:ahLst/>
            <a:cxnLst>
              <a:cxn ang="0">
                <a:pos x="0" y="2300"/>
              </a:cxn>
              <a:cxn ang="0">
                <a:pos x="846" y="0"/>
              </a:cxn>
              <a:cxn ang="0">
                <a:pos x="902" y="21"/>
              </a:cxn>
              <a:cxn ang="0">
                <a:pos x="56" y="2321"/>
              </a:cxn>
              <a:cxn ang="0">
                <a:pos x="0" y="2300"/>
              </a:cxn>
            </a:cxnLst>
            <a:rect l="0" t="0" r="r" b="b"/>
            <a:pathLst>
              <a:path w="902" h="2321">
                <a:moveTo>
                  <a:pt x="0" y="2300"/>
                </a:moveTo>
                <a:lnTo>
                  <a:pt x="846" y="0"/>
                </a:lnTo>
                <a:lnTo>
                  <a:pt x="902" y="21"/>
                </a:lnTo>
                <a:lnTo>
                  <a:pt x="56" y="2321"/>
                </a:lnTo>
                <a:lnTo>
                  <a:pt x="0" y="2300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30" name="Freeform 10"/>
          <p:cNvSpPr>
            <a:spLocks/>
          </p:cNvSpPr>
          <p:nvPr userDrawn="1"/>
        </p:nvSpPr>
        <p:spPr bwMode="auto">
          <a:xfrm>
            <a:off x="12351310" y="1533534"/>
            <a:ext cx="720444" cy="1603375"/>
          </a:xfrm>
          <a:custGeom>
            <a:avLst/>
            <a:gdLst/>
            <a:ahLst/>
            <a:cxnLst>
              <a:cxn ang="0">
                <a:pos x="0" y="26"/>
              </a:cxn>
              <a:cxn ang="0">
                <a:pos x="1021" y="3029"/>
              </a:cxn>
              <a:cxn ang="0">
                <a:pos x="1037" y="3028"/>
              </a:cxn>
              <a:cxn ang="0">
                <a:pos x="1050" y="3025"/>
              </a:cxn>
              <a:cxn ang="0">
                <a:pos x="1061" y="3021"/>
              </a:cxn>
              <a:cxn ang="0">
                <a:pos x="1070" y="3017"/>
              </a:cxn>
              <a:cxn ang="0">
                <a:pos x="1080" y="3011"/>
              </a:cxn>
              <a:cxn ang="0">
                <a:pos x="1083" y="3009"/>
              </a:cxn>
              <a:cxn ang="0">
                <a:pos x="62" y="0"/>
              </a:cxn>
              <a:cxn ang="0">
                <a:pos x="0" y="26"/>
              </a:cxn>
            </a:cxnLst>
            <a:rect l="0" t="0" r="r" b="b"/>
            <a:pathLst>
              <a:path w="1083" h="3029">
                <a:moveTo>
                  <a:pt x="0" y="26"/>
                </a:moveTo>
                <a:lnTo>
                  <a:pt x="1021" y="3029"/>
                </a:lnTo>
                <a:lnTo>
                  <a:pt x="1037" y="3028"/>
                </a:lnTo>
                <a:lnTo>
                  <a:pt x="1050" y="3025"/>
                </a:lnTo>
                <a:lnTo>
                  <a:pt x="1061" y="3021"/>
                </a:lnTo>
                <a:lnTo>
                  <a:pt x="1070" y="3017"/>
                </a:lnTo>
                <a:lnTo>
                  <a:pt x="1080" y="3011"/>
                </a:lnTo>
                <a:lnTo>
                  <a:pt x="1083" y="3009"/>
                </a:lnTo>
                <a:lnTo>
                  <a:pt x="62" y="0"/>
                </a:lnTo>
                <a:lnTo>
                  <a:pt x="0" y="26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0" hasCustomPrompt="1"/>
          </p:nvPr>
        </p:nvSpPr>
        <p:spPr>
          <a:xfrm>
            <a:off x="5128819" y="1960324"/>
            <a:ext cx="5431387" cy="2592388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b="1">
                <a:solidFill>
                  <a:srgbClr val="32B9CD"/>
                </a:solidFill>
                <a:latin typeface="Exo 2" pitchFamily="50" charset="0"/>
              </a:defRPr>
            </a:lvl1pPr>
            <a:lvl2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2pPr>
            <a:lvl3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3pPr>
            <a:lvl4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4pPr>
            <a:lvl5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 texto de agradecimento.</a:t>
            </a:r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1" hasCustomPrompt="1"/>
          </p:nvPr>
        </p:nvSpPr>
        <p:spPr>
          <a:xfrm>
            <a:off x="6177464" y="5927709"/>
            <a:ext cx="4798598" cy="115257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514" baseline="0">
                <a:solidFill>
                  <a:srgbClr val="32B9CD"/>
                </a:solidFill>
              </a:defRPr>
            </a:lvl1pPr>
            <a:lvl2pPr>
              <a:buNone/>
              <a:defRPr sz="2011">
                <a:solidFill>
                  <a:srgbClr val="32B9CD"/>
                </a:solidFill>
              </a:defRPr>
            </a:lvl2pPr>
            <a:lvl3pPr>
              <a:buNone/>
              <a:defRPr sz="1760">
                <a:solidFill>
                  <a:srgbClr val="32B9CD"/>
                </a:solidFill>
              </a:defRPr>
            </a:lvl3pPr>
            <a:lvl4pPr>
              <a:buNone/>
              <a:defRPr sz="1509">
                <a:solidFill>
                  <a:srgbClr val="32B9CD"/>
                </a:solidFill>
              </a:defRPr>
            </a:lvl4pPr>
            <a:lvl5pPr>
              <a:buNone/>
              <a:defRPr sz="1509">
                <a:solidFill>
                  <a:srgbClr val="32B9CD"/>
                </a:solidFill>
              </a:defRPr>
            </a:lvl5pPr>
          </a:lstStyle>
          <a:p>
            <a:pPr lvl="0"/>
            <a:r>
              <a:rPr lang="pt-BR" dirty="0"/>
              <a:t>Clique para editar as informações de contatos (endereços, e-mails, telefones, etc.)</a:t>
            </a:r>
          </a:p>
        </p:txBody>
      </p:sp>
      <p:pic>
        <p:nvPicPr>
          <p:cNvPr id="12" name="Imagem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8201" y="6059030"/>
            <a:ext cx="2388263" cy="88993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2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ângulo 15"/>
          <p:cNvSpPr/>
          <p:nvPr userDrawn="1"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1029" name="Freeform 5"/>
          <p:cNvSpPr>
            <a:spLocks/>
          </p:cNvSpPr>
          <p:nvPr userDrawn="1"/>
        </p:nvSpPr>
        <p:spPr bwMode="auto">
          <a:xfrm>
            <a:off x="6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0" name="Freeform 6"/>
          <p:cNvSpPr>
            <a:spLocks noEditPoints="1"/>
          </p:cNvSpPr>
          <p:nvPr userDrawn="1"/>
        </p:nvSpPr>
        <p:spPr bwMode="auto">
          <a:xfrm>
            <a:off x="8655302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3031455" y="3630622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4" name="Freeform 10"/>
          <p:cNvSpPr>
            <a:spLocks/>
          </p:cNvSpPr>
          <p:nvPr userDrawn="1"/>
        </p:nvSpPr>
        <p:spPr bwMode="auto">
          <a:xfrm>
            <a:off x="8856862" y="1057284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com IMAGEM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ângulo 8"/>
          <p:cNvSpPr/>
          <p:nvPr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2053" name="Freeform 5"/>
          <p:cNvSpPr>
            <a:spLocks noEditPoints="1"/>
          </p:cNvSpPr>
          <p:nvPr/>
        </p:nvSpPr>
        <p:spPr bwMode="auto">
          <a:xfrm>
            <a:off x="6917054" y="1594"/>
            <a:ext cx="6525898" cy="7559675"/>
          </a:xfrm>
          <a:custGeom>
            <a:avLst/>
            <a:gdLst/>
            <a:ahLst/>
            <a:cxnLst>
              <a:cxn ang="0">
                <a:pos x="8045" y="0"/>
              </a:cxn>
              <a:cxn ang="0">
                <a:pos x="9811" y="5425"/>
              </a:cxn>
              <a:cxn ang="0">
                <a:pos x="1893" y="0"/>
              </a:cxn>
              <a:cxn ang="0">
                <a:pos x="302" y="4912"/>
              </a:cxn>
              <a:cxn ang="0">
                <a:pos x="250" y="5077"/>
              </a:cxn>
              <a:cxn ang="0">
                <a:pos x="205" y="5243"/>
              </a:cxn>
              <a:cxn ang="0">
                <a:pos x="165" y="5411"/>
              </a:cxn>
              <a:cxn ang="0">
                <a:pos x="135" y="5580"/>
              </a:cxn>
              <a:cxn ang="0">
                <a:pos x="110" y="5750"/>
              </a:cxn>
              <a:cxn ang="0">
                <a:pos x="92" y="5921"/>
              </a:cxn>
              <a:cxn ang="0">
                <a:pos x="82" y="6093"/>
              </a:cxn>
              <a:cxn ang="0">
                <a:pos x="78" y="6264"/>
              </a:cxn>
              <a:cxn ang="0">
                <a:pos x="82" y="6436"/>
              </a:cxn>
              <a:cxn ang="0">
                <a:pos x="92" y="6608"/>
              </a:cxn>
              <a:cxn ang="0">
                <a:pos x="110" y="6778"/>
              </a:cxn>
              <a:cxn ang="0">
                <a:pos x="135" y="6949"/>
              </a:cxn>
              <a:cxn ang="0">
                <a:pos x="165" y="7118"/>
              </a:cxn>
              <a:cxn ang="0">
                <a:pos x="205" y="7285"/>
              </a:cxn>
              <a:cxn ang="0">
                <a:pos x="250" y="7452"/>
              </a:cxn>
              <a:cxn ang="0">
                <a:pos x="302" y="7616"/>
              </a:cxn>
              <a:cxn ang="0">
                <a:pos x="2492" y="14286"/>
              </a:cxn>
              <a:cxn ang="0">
                <a:pos x="200" y="7558"/>
              </a:cxn>
              <a:cxn ang="0">
                <a:pos x="150" y="7390"/>
              </a:cxn>
              <a:cxn ang="0">
                <a:pos x="107" y="7219"/>
              </a:cxn>
              <a:cxn ang="0">
                <a:pos x="72" y="7047"/>
              </a:cxn>
              <a:cxn ang="0">
                <a:pos x="43" y="6874"/>
              </a:cxn>
              <a:cxn ang="0">
                <a:pos x="21" y="6701"/>
              </a:cxn>
              <a:cxn ang="0">
                <a:pos x="8" y="6527"/>
              </a:cxn>
              <a:cxn ang="0">
                <a:pos x="0" y="6352"/>
              </a:cxn>
              <a:cxn ang="0">
                <a:pos x="0" y="6177"/>
              </a:cxn>
              <a:cxn ang="0">
                <a:pos x="8" y="6002"/>
              </a:cxn>
              <a:cxn ang="0">
                <a:pos x="21" y="5828"/>
              </a:cxn>
              <a:cxn ang="0">
                <a:pos x="43" y="5653"/>
              </a:cxn>
              <a:cxn ang="0">
                <a:pos x="72" y="5480"/>
              </a:cxn>
              <a:cxn ang="0">
                <a:pos x="107" y="5308"/>
              </a:cxn>
              <a:cxn ang="0">
                <a:pos x="150" y="5139"/>
              </a:cxn>
              <a:cxn ang="0">
                <a:pos x="200" y="4970"/>
              </a:cxn>
              <a:cxn ang="0">
                <a:pos x="1893" y="0"/>
              </a:cxn>
            </a:cxnLst>
            <a:rect l="0" t="0" r="r" b="b"/>
            <a:pathLst>
              <a:path w="9811" h="14286">
                <a:moveTo>
                  <a:pt x="9811" y="5178"/>
                </a:moveTo>
                <a:lnTo>
                  <a:pt x="8045" y="0"/>
                </a:lnTo>
                <a:lnTo>
                  <a:pt x="7962" y="0"/>
                </a:lnTo>
                <a:lnTo>
                  <a:pt x="9811" y="5425"/>
                </a:lnTo>
                <a:lnTo>
                  <a:pt x="9811" y="5178"/>
                </a:lnTo>
                <a:close/>
                <a:moveTo>
                  <a:pt x="1893" y="0"/>
                </a:moveTo>
                <a:lnTo>
                  <a:pt x="1977" y="0"/>
                </a:lnTo>
                <a:lnTo>
                  <a:pt x="302" y="4912"/>
                </a:lnTo>
                <a:lnTo>
                  <a:pt x="275" y="4994"/>
                </a:lnTo>
                <a:lnTo>
                  <a:pt x="250" y="5077"/>
                </a:lnTo>
                <a:lnTo>
                  <a:pt x="226" y="5159"/>
                </a:lnTo>
                <a:lnTo>
                  <a:pt x="205" y="5243"/>
                </a:lnTo>
                <a:lnTo>
                  <a:pt x="184" y="5327"/>
                </a:lnTo>
                <a:lnTo>
                  <a:pt x="165" y="5411"/>
                </a:lnTo>
                <a:lnTo>
                  <a:pt x="149" y="5495"/>
                </a:lnTo>
                <a:lnTo>
                  <a:pt x="135" y="5580"/>
                </a:lnTo>
                <a:lnTo>
                  <a:pt x="121" y="5665"/>
                </a:lnTo>
                <a:lnTo>
                  <a:pt x="110" y="5750"/>
                </a:lnTo>
                <a:lnTo>
                  <a:pt x="101" y="5835"/>
                </a:lnTo>
                <a:lnTo>
                  <a:pt x="92" y="5921"/>
                </a:lnTo>
                <a:lnTo>
                  <a:pt x="87" y="6007"/>
                </a:lnTo>
                <a:lnTo>
                  <a:pt x="82" y="6093"/>
                </a:lnTo>
                <a:lnTo>
                  <a:pt x="80" y="6179"/>
                </a:lnTo>
                <a:lnTo>
                  <a:pt x="78" y="6264"/>
                </a:lnTo>
                <a:lnTo>
                  <a:pt x="80" y="6350"/>
                </a:lnTo>
                <a:lnTo>
                  <a:pt x="82" y="6436"/>
                </a:lnTo>
                <a:lnTo>
                  <a:pt x="87" y="6522"/>
                </a:lnTo>
                <a:lnTo>
                  <a:pt x="92" y="6608"/>
                </a:lnTo>
                <a:lnTo>
                  <a:pt x="101" y="6693"/>
                </a:lnTo>
                <a:lnTo>
                  <a:pt x="110" y="6778"/>
                </a:lnTo>
                <a:lnTo>
                  <a:pt x="121" y="6863"/>
                </a:lnTo>
                <a:lnTo>
                  <a:pt x="135" y="6949"/>
                </a:lnTo>
                <a:lnTo>
                  <a:pt x="149" y="7034"/>
                </a:lnTo>
                <a:lnTo>
                  <a:pt x="165" y="7118"/>
                </a:lnTo>
                <a:lnTo>
                  <a:pt x="184" y="7201"/>
                </a:lnTo>
                <a:lnTo>
                  <a:pt x="205" y="7285"/>
                </a:lnTo>
                <a:lnTo>
                  <a:pt x="226" y="7368"/>
                </a:lnTo>
                <a:lnTo>
                  <a:pt x="250" y="7452"/>
                </a:lnTo>
                <a:lnTo>
                  <a:pt x="275" y="7534"/>
                </a:lnTo>
                <a:lnTo>
                  <a:pt x="302" y="7616"/>
                </a:lnTo>
                <a:lnTo>
                  <a:pt x="2575" y="14286"/>
                </a:lnTo>
                <a:lnTo>
                  <a:pt x="2492" y="14286"/>
                </a:lnTo>
                <a:lnTo>
                  <a:pt x="227" y="7642"/>
                </a:lnTo>
                <a:lnTo>
                  <a:pt x="200" y="7558"/>
                </a:lnTo>
                <a:lnTo>
                  <a:pt x="173" y="7474"/>
                </a:lnTo>
                <a:lnTo>
                  <a:pt x="150" y="7390"/>
                </a:lnTo>
                <a:lnTo>
                  <a:pt x="128" y="7305"/>
                </a:lnTo>
                <a:lnTo>
                  <a:pt x="107" y="7219"/>
                </a:lnTo>
                <a:lnTo>
                  <a:pt x="88" y="7133"/>
                </a:lnTo>
                <a:lnTo>
                  <a:pt x="72" y="7047"/>
                </a:lnTo>
                <a:lnTo>
                  <a:pt x="57" y="6962"/>
                </a:lnTo>
                <a:lnTo>
                  <a:pt x="43" y="6874"/>
                </a:lnTo>
                <a:lnTo>
                  <a:pt x="32" y="6789"/>
                </a:lnTo>
                <a:lnTo>
                  <a:pt x="21" y="6701"/>
                </a:lnTo>
                <a:lnTo>
                  <a:pt x="14" y="6614"/>
                </a:lnTo>
                <a:lnTo>
                  <a:pt x="8" y="6527"/>
                </a:lnTo>
                <a:lnTo>
                  <a:pt x="4" y="6439"/>
                </a:lnTo>
                <a:lnTo>
                  <a:pt x="0" y="6352"/>
                </a:lnTo>
                <a:lnTo>
                  <a:pt x="0" y="6264"/>
                </a:lnTo>
                <a:lnTo>
                  <a:pt x="0" y="6177"/>
                </a:lnTo>
                <a:lnTo>
                  <a:pt x="4" y="6089"/>
                </a:lnTo>
                <a:lnTo>
                  <a:pt x="8" y="6002"/>
                </a:lnTo>
                <a:lnTo>
                  <a:pt x="14" y="5915"/>
                </a:lnTo>
                <a:lnTo>
                  <a:pt x="21" y="5828"/>
                </a:lnTo>
                <a:lnTo>
                  <a:pt x="32" y="5740"/>
                </a:lnTo>
                <a:lnTo>
                  <a:pt x="43" y="5653"/>
                </a:lnTo>
                <a:lnTo>
                  <a:pt x="57" y="5567"/>
                </a:lnTo>
                <a:lnTo>
                  <a:pt x="72" y="5480"/>
                </a:lnTo>
                <a:lnTo>
                  <a:pt x="88" y="5394"/>
                </a:lnTo>
                <a:lnTo>
                  <a:pt x="107" y="5308"/>
                </a:lnTo>
                <a:lnTo>
                  <a:pt x="128" y="5224"/>
                </a:lnTo>
                <a:lnTo>
                  <a:pt x="150" y="5139"/>
                </a:lnTo>
                <a:lnTo>
                  <a:pt x="173" y="5055"/>
                </a:lnTo>
                <a:lnTo>
                  <a:pt x="200" y="4970"/>
                </a:lnTo>
                <a:lnTo>
                  <a:pt x="227" y="4887"/>
                </a:lnTo>
                <a:lnTo>
                  <a:pt x="1893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054" name="Freeform 6"/>
          <p:cNvSpPr>
            <a:spLocks/>
          </p:cNvSpPr>
          <p:nvPr/>
        </p:nvSpPr>
        <p:spPr bwMode="auto">
          <a:xfrm>
            <a:off x="0" y="1594"/>
            <a:ext cx="1909873" cy="7559675"/>
          </a:xfrm>
          <a:custGeom>
            <a:avLst/>
            <a:gdLst/>
            <a:ahLst/>
            <a:cxnLst>
              <a:cxn ang="0">
                <a:pos x="2872" y="14286"/>
              </a:cxn>
              <a:cxn ang="0">
                <a:pos x="2859" y="14254"/>
              </a:cxn>
              <a:cxn ang="0">
                <a:pos x="2848" y="14224"/>
              </a:cxn>
              <a:cxn ang="0">
                <a:pos x="2837" y="14193"/>
              </a:cxn>
              <a:cxn ang="0">
                <a:pos x="2824" y="14160"/>
              </a:cxn>
              <a:cxn ang="0">
                <a:pos x="633" y="7894"/>
              </a:cxn>
              <a:cxn ang="0">
                <a:pos x="599" y="7794"/>
              </a:cxn>
              <a:cxn ang="0">
                <a:pos x="567" y="7694"/>
              </a:cxn>
              <a:cxn ang="0">
                <a:pos x="538" y="7593"/>
              </a:cxn>
              <a:cxn ang="0">
                <a:pos x="510" y="7492"/>
              </a:cxn>
              <a:cxn ang="0">
                <a:pos x="486" y="7391"/>
              </a:cxn>
              <a:cxn ang="0">
                <a:pos x="464" y="7290"/>
              </a:cxn>
              <a:cxn ang="0">
                <a:pos x="442" y="7188"/>
              </a:cxn>
              <a:cxn ang="0">
                <a:pos x="424" y="7085"/>
              </a:cxn>
              <a:cxn ang="0">
                <a:pos x="408" y="6983"/>
              </a:cxn>
              <a:cxn ang="0">
                <a:pos x="394" y="6879"/>
              </a:cxn>
              <a:cxn ang="0">
                <a:pos x="381" y="6776"/>
              </a:cxn>
              <a:cxn ang="0">
                <a:pos x="371" y="6674"/>
              </a:cxn>
              <a:cxn ang="0">
                <a:pos x="364" y="6570"/>
              </a:cxn>
              <a:cxn ang="0">
                <a:pos x="359" y="6467"/>
              </a:cxn>
              <a:cxn ang="0">
                <a:pos x="355" y="6363"/>
              </a:cxn>
              <a:cxn ang="0">
                <a:pos x="355" y="6259"/>
              </a:cxn>
              <a:cxn ang="0">
                <a:pos x="355" y="6156"/>
              </a:cxn>
              <a:cxn ang="0">
                <a:pos x="359" y="6052"/>
              </a:cxn>
              <a:cxn ang="0">
                <a:pos x="364" y="5949"/>
              </a:cxn>
              <a:cxn ang="0">
                <a:pos x="371" y="5845"/>
              </a:cxn>
              <a:cxn ang="0">
                <a:pos x="381" y="5743"/>
              </a:cxn>
              <a:cxn ang="0">
                <a:pos x="394" y="5639"/>
              </a:cxn>
              <a:cxn ang="0">
                <a:pos x="408" y="5537"/>
              </a:cxn>
              <a:cxn ang="0">
                <a:pos x="424" y="5434"/>
              </a:cxn>
              <a:cxn ang="0">
                <a:pos x="442" y="5331"/>
              </a:cxn>
              <a:cxn ang="0">
                <a:pos x="464" y="5230"/>
              </a:cxn>
              <a:cxn ang="0">
                <a:pos x="486" y="5128"/>
              </a:cxn>
              <a:cxn ang="0">
                <a:pos x="510" y="5027"/>
              </a:cxn>
              <a:cxn ang="0">
                <a:pos x="538" y="4926"/>
              </a:cxn>
              <a:cxn ang="0">
                <a:pos x="567" y="4825"/>
              </a:cxn>
              <a:cxn ang="0">
                <a:pos x="599" y="4725"/>
              </a:cxn>
              <a:cxn ang="0">
                <a:pos x="633" y="4625"/>
              </a:cxn>
              <a:cxn ang="0">
                <a:pos x="2257" y="0"/>
              </a:cxn>
              <a:cxn ang="0">
                <a:pos x="918" y="0"/>
              </a:cxn>
              <a:cxn ang="0">
                <a:pos x="0" y="2612"/>
              </a:cxn>
              <a:cxn ang="0">
                <a:pos x="0" y="9903"/>
              </a:cxn>
              <a:cxn ang="0">
                <a:pos x="1542" y="14286"/>
              </a:cxn>
              <a:cxn ang="0">
                <a:pos x="2872" y="14286"/>
              </a:cxn>
            </a:cxnLst>
            <a:rect l="0" t="0" r="r" b="b"/>
            <a:pathLst>
              <a:path w="2872" h="14286">
                <a:moveTo>
                  <a:pt x="2872" y="14286"/>
                </a:moveTo>
                <a:lnTo>
                  <a:pt x="2859" y="14254"/>
                </a:lnTo>
                <a:lnTo>
                  <a:pt x="2848" y="14224"/>
                </a:lnTo>
                <a:lnTo>
                  <a:pt x="2837" y="14193"/>
                </a:lnTo>
                <a:lnTo>
                  <a:pt x="2824" y="14160"/>
                </a:lnTo>
                <a:lnTo>
                  <a:pt x="633" y="7894"/>
                </a:lnTo>
                <a:lnTo>
                  <a:pt x="599" y="7794"/>
                </a:lnTo>
                <a:lnTo>
                  <a:pt x="567" y="7694"/>
                </a:lnTo>
                <a:lnTo>
                  <a:pt x="538" y="7593"/>
                </a:lnTo>
                <a:lnTo>
                  <a:pt x="510" y="7492"/>
                </a:lnTo>
                <a:lnTo>
                  <a:pt x="486" y="7391"/>
                </a:lnTo>
                <a:lnTo>
                  <a:pt x="464" y="7290"/>
                </a:lnTo>
                <a:lnTo>
                  <a:pt x="442" y="7188"/>
                </a:lnTo>
                <a:lnTo>
                  <a:pt x="424" y="7085"/>
                </a:lnTo>
                <a:lnTo>
                  <a:pt x="408" y="6983"/>
                </a:lnTo>
                <a:lnTo>
                  <a:pt x="394" y="6879"/>
                </a:lnTo>
                <a:lnTo>
                  <a:pt x="381" y="6776"/>
                </a:lnTo>
                <a:lnTo>
                  <a:pt x="371" y="6674"/>
                </a:lnTo>
                <a:lnTo>
                  <a:pt x="364" y="6570"/>
                </a:lnTo>
                <a:lnTo>
                  <a:pt x="359" y="6467"/>
                </a:lnTo>
                <a:lnTo>
                  <a:pt x="355" y="6363"/>
                </a:lnTo>
                <a:lnTo>
                  <a:pt x="355" y="6259"/>
                </a:lnTo>
                <a:lnTo>
                  <a:pt x="355" y="6156"/>
                </a:lnTo>
                <a:lnTo>
                  <a:pt x="359" y="6052"/>
                </a:lnTo>
                <a:lnTo>
                  <a:pt x="364" y="5949"/>
                </a:lnTo>
                <a:lnTo>
                  <a:pt x="371" y="5845"/>
                </a:lnTo>
                <a:lnTo>
                  <a:pt x="381" y="5743"/>
                </a:lnTo>
                <a:lnTo>
                  <a:pt x="394" y="5639"/>
                </a:lnTo>
                <a:lnTo>
                  <a:pt x="408" y="5537"/>
                </a:lnTo>
                <a:lnTo>
                  <a:pt x="424" y="5434"/>
                </a:lnTo>
                <a:lnTo>
                  <a:pt x="442" y="5331"/>
                </a:lnTo>
                <a:lnTo>
                  <a:pt x="464" y="5230"/>
                </a:lnTo>
                <a:lnTo>
                  <a:pt x="486" y="5128"/>
                </a:lnTo>
                <a:lnTo>
                  <a:pt x="510" y="5027"/>
                </a:lnTo>
                <a:lnTo>
                  <a:pt x="538" y="4926"/>
                </a:lnTo>
                <a:lnTo>
                  <a:pt x="567" y="4825"/>
                </a:lnTo>
                <a:lnTo>
                  <a:pt x="599" y="4725"/>
                </a:lnTo>
                <a:lnTo>
                  <a:pt x="633" y="4625"/>
                </a:lnTo>
                <a:lnTo>
                  <a:pt x="2257" y="0"/>
                </a:lnTo>
                <a:lnTo>
                  <a:pt x="918" y="0"/>
                </a:lnTo>
                <a:lnTo>
                  <a:pt x="0" y="2612"/>
                </a:lnTo>
                <a:lnTo>
                  <a:pt x="0" y="9903"/>
                </a:lnTo>
                <a:lnTo>
                  <a:pt x="1542" y="14286"/>
                </a:lnTo>
                <a:lnTo>
                  <a:pt x="2872" y="14286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055" name="Freeform 7"/>
          <p:cNvSpPr>
            <a:spLocks/>
          </p:cNvSpPr>
          <p:nvPr/>
        </p:nvSpPr>
        <p:spPr bwMode="auto">
          <a:xfrm>
            <a:off x="7156696" y="4237047"/>
            <a:ext cx="1143529" cy="2570163"/>
          </a:xfrm>
          <a:custGeom>
            <a:avLst/>
            <a:gdLst/>
            <a:ahLst/>
            <a:cxnLst>
              <a:cxn ang="0">
                <a:pos x="1719" y="4834"/>
              </a:cxn>
              <a:cxn ang="0">
                <a:pos x="70" y="0"/>
              </a:cxn>
              <a:cxn ang="0">
                <a:pos x="0" y="22"/>
              </a:cxn>
              <a:cxn ang="0">
                <a:pos x="1648" y="4857"/>
              </a:cxn>
              <a:cxn ang="0">
                <a:pos x="1719" y="4834"/>
              </a:cxn>
            </a:cxnLst>
            <a:rect l="0" t="0" r="r" b="b"/>
            <a:pathLst>
              <a:path w="1719" h="4857">
                <a:moveTo>
                  <a:pt x="1719" y="4834"/>
                </a:moveTo>
                <a:lnTo>
                  <a:pt x="70" y="0"/>
                </a:lnTo>
                <a:lnTo>
                  <a:pt x="0" y="22"/>
                </a:lnTo>
                <a:lnTo>
                  <a:pt x="1648" y="4857"/>
                </a:lnTo>
                <a:lnTo>
                  <a:pt x="1719" y="4834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2" name="Espaço Reservado para Imagem 21"/>
          <p:cNvSpPr>
            <a:spLocks noGrp="1"/>
          </p:cNvSpPr>
          <p:nvPr>
            <p:ph type="pic" sz="quarter" idx="10"/>
          </p:nvPr>
        </p:nvSpPr>
        <p:spPr>
          <a:xfrm>
            <a:off x="475381" y="0"/>
            <a:ext cx="7416449" cy="7561264"/>
          </a:xfrm>
          <a:custGeom>
            <a:avLst/>
            <a:gdLst>
              <a:gd name="connsiteX0" fmla="*/ 0 w 4319959"/>
              <a:gd name="connsiteY0" fmla="*/ 0 h 7561263"/>
              <a:gd name="connsiteX1" fmla="*/ 4319959 w 4319959"/>
              <a:gd name="connsiteY1" fmla="*/ 0 h 7561263"/>
              <a:gd name="connsiteX2" fmla="*/ 4319959 w 4319959"/>
              <a:gd name="connsiteY2" fmla="*/ 7561263 h 7561263"/>
              <a:gd name="connsiteX3" fmla="*/ 0 w 4319959"/>
              <a:gd name="connsiteY3" fmla="*/ 7561263 h 7561263"/>
              <a:gd name="connsiteX4" fmla="*/ 0 w 4319959"/>
              <a:gd name="connsiteY4" fmla="*/ 0 h 7561263"/>
              <a:gd name="connsiteX0" fmla="*/ 0 w 4607992"/>
              <a:gd name="connsiteY0" fmla="*/ 0 h 7561264"/>
              <a:gd name="connsiteX1" fmla="*/ 4319959 w 4607992"/>
              <a:gd name="connsiteY1" fmla="*/ 0 h 7561264"/>
              <a:gd name="connsiteX2" fmla="*/ 4607992 w 4607992"/>
              <a:gd name="connsiteY2" fmla="*/ 7561264 h 7561264"/>
              <a:gd name="connsiteX3" fmla="*/ 0 w 4607992"/>
              <a:gd name="connsiteY3" fmla="*/ 7561263 h 7561264"/>
              <a:gd name="connsiteX4" fmla="*/ 0 w 4607992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216545 w 4824537"/>
              <a:gd name="connsiteY3" fmla="*/ 7561263 h 7561264"/>
              <a:gd name="connsiteX4" fmla="*/ 0 w 4824537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360041 w 4824537"/>
              <a:gd name="connsiteY3" fmla="*/ 7561263 h 7561264"/>
              <a:gd name="connsiteX4" fmla="*/ 0 w 4824537"/>
              <a:gd name="connsiteY4" fmla="*/ 0 h 7561264"/>
              <a:gd name="connsiteX0" fmla="*/ 792087 w 5616624"/>
              <a:gd name="connsiteY0" fmla="*/ 0 h 7561264"/>
              <a:gd name="connsiteX1" fmla="*/ 5328591 w 5616624"/>
              <a:gd name="connsiteY1" fmla="*/ 0 h 7561264"/>
              <a:gd name="connsiteX2" fmla="*/ 5616624 w 5616624"/>
              <a:gd name="connsiteY2" fmla="*/ 7561264 h 7561264"/>
              <a:gd name="connsiteX3" fmla="*/ 1152128 w 5616624"/>
              <a:gd name="connsiteY3" fmla="*/ 7561263 h 7561264"/>
              <a:gd name="connsiteX4" fmla="*/ 0 w 5616624"/>
              <a:gd name="connsiteY4" fmla="*/ 4212679 h 7561264"/>
              <a:gd name="connsiteX5" fmla="*/ 792087 w 5616624"/>
              <a:gd name="connsiteY5" fmla="*/ 0 h 7561264"/>
              <a:gd name="connsiteX0" fmla="*/ 864095 w 5688632"/>
              <a:gd name="connsiteY0" fmla="*/ 0 h 7561264"/>
              <a:gd name="connsiteX1" fmla="*/ 5400599 w 5688632"/>
              <a:gd name="connsiteY1" fmla="*/ 0 h 7561264"/>
              <a:gd name="connsiteX2" fmla="*/ 5688632 w 5688632"/>
              <a:gd name="connsiteY2" fmla="*/ 7561264 h 7561264"/>
              <a:gd name="connsiteX3" fmla="*/ 1224136 w 5688632"/>
              <a:gd name="connsiteY3" fmla="*/ 7561263 h 7561264"/>
              <a:gd name="connsiteX4" fmla="*/ 72008 w 5688632"/>
              <a:gd name="connsiteY4" fmla="*/ 4212679 h 7561264"/>
              <a:gd name="connsiteX5" fmla="*/ 0 w 5688632"/>
              <a:gd name="connsiteY5" fmla="*/ 2484487 h 7561264"/>
              <a:gd name="connsiteX6" fmla="*/ 864095 w 5688632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4356695 h 7561264"/>
              <a:gd name="connsiteX3" fmla="*/ 5888357 w 5888357"/>
              <a:gd name="connsiteY3" fmla="*/ 7561264 h 7561264"/>
              <a:gd name="connsiteX4" fmla="*/ 1423861 w 5888357"/>
              <a:gd name="connsiteY4" fmla="*/ 7561263 h 7561264"/>
              <a:gd name="connsiteX5" fmla="*/ 271733 w 5888357"/>
              <a:gd name="connsiteY5" fmla="*/ 4212679 h 7561264"/>
              <a:gd name="connsiteX6" fmla="*/ 199725 w 5888357"/>
              <a:gd name="connsiteY6" fmla="*/ 2484487 h 7561264"/>
              <a:gd name="connsiteX7" fmla="*/ 1063820 w 5888357"/>
              <a:gd name="connsiteY7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664222 w 5888357"/>
              <a:gd name="connsiteY3" fmla="*/ 4356695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13583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135830 w 5888357"/>
              <a:gd name="connsiteY8" fmla="*/ 0 h 7561264"/>
              <a:gd name="connsiteX0" fmla="*/ 1219010 w 5971537"/>
              <a:gd name="connsiteY0" fmla="*/ 0 h 7561264"/>
              <a:gd name="connsiteX1" fmla="*/ 5683504 w 5971537"/>
              <a:gd name="connsiteY1" fmla="*/ 0 h 7561264"/>
              <a:gd name="connsiteX2" fmla="*/ 4747402 w 5971537"/>
              <a:gd name="connsiteY2" fmla="*/ 2412479 h 7561264"/>
              <a:gd name="connsiteX3" fmla="*/ 4819410 w 5971537"/>
              <a:gd name="connsiteY3" fmla="*/ 4428703 h 7561264"/>
              <a:gd name="connsiteX4" fmla="*/ 5971537 w 5971537"/>
              <a:gd name="connsiteY4" fmla="*/ 7561264 h 7561264"/>
              <a:gd name="connsiteX5" fmla="*/ 1507041 w 5971537"/>
              <a:gd name="connsiteY5" fmla="*/ 7561263 h 7561264"/>
              <a:gd name="connsiteX6" fmla="*/ 354913 w 5971537"/>
              <a:gd name="connsiteY6" fmla="*/ 4212679 h 7561264"/>
              <a:gd name="connsiteX7" fmla="*/ 282905 w 5971537"/>
              <a:gd name="connsiteY7" fmla="*/ 2484487 h 7561264"/>
              <a:gd name="connsiteX8" fmla="*/ 1219010 w 5971537"/>
              <a:gd name="connsiteY8" fmla="*/ 0 h 7561264"/>
              <a:gd name="connsiteX0" fmla="*/ 1147001 w 5899528"/>
              <a:gd name="connsiteY0" fmla="*/ 0 h 7561264"/>
              <a:gd name="connsiteX1" fmla="*/ 5611495 w 5899528"/>
              <a:gd name="connsiteY1" fmla="*/ 0 h 7561264"/>
              <a:gd name="connsiteX2" fmla="*/ 4675393 w 5899528"/>
              <a:gd name="connsiteY2" fmla="*/ 2412479 h 7561264"/>
              <a:gd name="connsiteX3" fmla="*/ 4747401 w 5899528"/>
              <a:gd name="connsiteY3" fmla="*/ 4428703 h 7561264"/>
              <a:gd name="connsiteX4" fmla="*/ 5899528 w 5899528"/>
              <a:gd name="connsiteY4" fmla="*/ 7561264 h 7561264"/>
              <a:gd name="connsiteX5" fmla="*/ 1435032 w 5899528"/>
              <a:gd name="connsiteY5" fmla="*/ 7561263 h 7561264"/>
              <a:gd name="connsiteX6" fmla="*/ 282904 w 5899528"/>
              <a:gd name="connsiteY6" fmla="*/ 4212679 h 7561264"/>
              <a:gd name="connsiteX7" fmla="*/ 282905 w 5899528"/>
              <a:gd name="connsiteY7" fmla="*/ 2340471 h 7561264"/>
              <a:gd name="connsiteX8" fmla="*/ 1147001 w 5899528"/>
              <a:gd name="connsiteY8" fmla="*/ 0 h 7561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99528" h="7561264">
                <a:moveTo>
                  <a:pt x="1147001" y="0"/>
                </a:moveTo>
                <a:lnTo>
                  <a:pt x="5611495" y="0"/>
                </a:lnTo>
                <a:lnTo>
                  <a:pt x="4675393" y="2412479"/>
                </a:lnTo>
                <a:cubicBezTo>
                  <a:pt x="4433153" y="3103284"/>
                  <a:pt x="4415445" y="3647551"/>
                  <a:pt x="4747401" y="4428703"/>
                </a:cubicBezTo>
                <a:lnTo>
                  <a:pt x="5899528" y="7561264"/>
                </a:lnTo>
                <a:lnTo>
                  <a:pt x="1435032" y="7561263"/>
                </a:lnTo>
                <a:lnTo>
                  <a:pt x="282904" y="4212679"/>
                </a:lnTo>
                <a:cubicBezTo>
                  <a:pt x="64669" y="3571784"/>
                  <a:pt x="0" y="3092995"/>
                  <a:pt x="282905" y="2340471"/>
                </a:cubicBezTo>
                <a:lnTo>
                  <a:pt x="1147001" y="0"/>
                </a:lnTo>
                <a:close/>
              </a:path>
            </a:pathLst>
          </a:custGeo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pt-BR"/>
              <a:t>Clique no ícone para adicionar uma imagem</a:t>
            </a:r>
            <a:endParaRPr lang="pt-BR" dirty="0"/>
          </a:p>
        </p:txBody>
      </p:sp>
      <p:sp>
        <p:nvSpPr>
          <p:cNvPr id="26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299689" y="1404376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771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27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299689" y="4212688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514" b="0">
                <a:solidFill>
                  <a:schemeClr val="bg1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</p:spTree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com título e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tângulo 13"/>
          <p:cNvSpPr/>
          <p:nvPr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15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135473" y="1404376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771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16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135473" y="4212688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514" b="0">
                <a:solidFill>
                  <a:schemeClr val="bg1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  <p:sp>
        <p:nvSpPr>
          <p:cNvPr id="3077" name="Freeform 5"/>
          <p:cNvSpPr>
            <a:spLocks noEditPoints="1"/>
          </p:cNvSpPr>
          <p:nvPr/>
        </p:nvSpPr>
        <p:spPr bwMode="auto">
          <a:xfrm>
            <a:off x="-9915" y="5"/>
            <a:ext cx="7998715" cy="7561263"/>
          </a:xfrm>
          <a:custGeom>
            <a:avLst/>
            <a:gdLst/>
            <a:ahLst/>
            <a:cxnLst>
              <a:cxn ang="0">
                <a:pos x="15853" y="16870"/>
              </a:cxn>
              <a:cxn ang="0">
                <a:pos x="15717" y="16705"/>
              </a:cxn>
              <a:cxn ang="0">
                <a:pos x="10719" y="1937"/>
              </a:cxn>
              <a:cxn ang="0">
                <a:pos x="10726" y="1781"/>
              </a:cxn>
              <a:cxn ang="0">
                <a:pos x="10625" y="1498"/>
              </a:cxn>
              <a:cxn ang="0">
                <a:pos x="10462" y="1137"/>
              </a:cxn>
              <a:cxn ang="0">
                <a:pos x="10272" y="796"/>
              </a:cxn>
              <a:cxn ang="0">
                <a:pos x="10055" y="477"/>
              </a:cxn>
              <a:cxn ang="0">
                <a:pos x="9814" y="182"/>
              </a:cxn>
              <a:cxn ang="0">
                <a:pos x="9251" y="45"/>
              </a:cxn>
              <a:cxn ang="0">
                <a:pos x="9551" y="336"/>
              </a:cxn>
              <a:cxn ang="0">
                <a:pos x="9821" y="657"/>
              </a:cxn>
              <a:cxn ang="0">
                <a:pos x="10058" y="1005"/>
              </a:cxn>
              <a:cxn ang="0">
                <a:pos x="10260" y="1379"/>
              </a:cxn>
              <a:cxn ang="0">
                <a:pos x="10426" y="1775"/>
              </a:cxn>
              <a:cxn ang="0">
                <a:pos x="10513" y="1933"/>
              </a:cxn>
              <a:cxn ang="0">
                <a:pos x="15627" y="16776"/>
              </a:cxn>
              <a:cxn ang="0">
                <a:pos x="15619" y="16978"/>
              </a:cxn>
              <a:cxn ang="0">
                <a:pos x="15666" y="17155"/>
              </a:cxn>
              <a:cxn ang="0">
                <a:pos x="15736" y="17540"/>
              </a:cxn>
              <a:cxn ang="0">
                <a:pos x="15738" y="17924"/>
              </a:cxn>
              <a:cxn ang="0">
                <a:pos x="15671" y="18301"/>
              </a:cxn>
              <a:cxn ang="0">
                <a:pos x="15536" y="18662"/>
              </a:cxn>
              <a:cxn ang="0">
                <a:pos x="15335" y="19002"/>
              </a:cxn>
              <a:cxn ang="0">
                <a:pos x="15682" y="18992"/>
              </a:cxn>
              <a:cxn ang="0">
                <a:pos x="15865" y="18619"/>
              </a:cxn>
              <a:cxn ang="0">
                <a:pos x="15982" y="18227"/>
              </a:cxn>
              <a:cxn ang="0">
                <a:pos x="16029" y="17822"/>
              </a:cxn>
              <a:cxn ang="0">
                <a:pos x="16008" y="17412"/>
              </a:cxn>
              <a:cxn ang="0">
                <a:pos x="15917" y="17003"/>
              </a:cxn>
              <a:cxn ang="0">
                <a:pos x="4023" y="18915"/>
              </a:cxn>
              <a:cxn ang="0">
                <a:pos x="3710" y="18613"/>
              </a:cxn>
              <a:cxn ang="0">
                <a:pos x="3429" y="18280"/>
              </a:cxn>
              <a:cxn ang="0">
                <a:pos x="3184" y="17915"/>
              </a:cxn>
              <a:cxn ang="0">
                <a:pos x="2978" y="17521"/>
              </a:cxn>
              <a:cxn ang="0">
                <a:pos x="620" y="10848"/>
              </a:cxn>
              <a:cxn ang="0">
                <a:pos x="481" y="10349"/>
              </a:cxn>
              <a:cxn ang="0">
                <a:pos x="405" y="9838"/>
              </a:cxn>
              <a:cxn ang="0">
                <a:pos x="395" y="9322"/>
              </a:cxn>
              <a:cxn ang="0">
                <a:pos x="448" y="8810"/>
              </a:cxn>
              <a:cxn ang="0">
                <a:pos x="567" y="8306"/>
              </a:cxn>
              <a:cxn ang="0">
                <a:pos x="2915" y="1625"/>
              </a:cxn>
              <a:cxn ang="0">
                <a:pos x="3098" y="1237"/>
              </a:cxn>
              <a:cxn ang="0">
                <a:pos x="3321" y="873"/>
              </a:cxn>
              <a:cxn ang="0">
                <a:pos x="3576" y="537"/>
              </a:cxn>
              <a:cxn ang="0">
                <a:pos x="3863" y="230"/>
              </a:cxn>
              <a:cxn ang="0">
                <a:pos x="0" y="0"/>
              </a:cxn>
              <a:cxn ang="0">
                <a:pos x="3582" y="10712"/>
              </a:cxn>
              <a:cxn ang="0">
                <a:pos x="3463" y="10195"/>
              </a:cxn>
              <a:cxn ang="0">
                <a:pos x="3410" y="9668"/>
              </a:cxn>
              <a:cxn ang="0">
                <a:pos x="3421" y="9139"/>
              </a:cxn>
              <a:cxn ang="0">
                <a:pos x="3496" y="8614"/>
              </a:cxn>
              <a:cxn ang="0">
                <a:pos x="3636" y="8102"/>
              </a:cxn>
              <a:cxn ang="0">
                <a:pos x="3480" y="8335"/>
              </a:cxn>
              <a:cxn ang="0">
                <a:pos x="3370" y="8863"/>
              </a:cxn>
              <a:cxn ang="0">
                <a:pos x="3326" y="9401"/>
              </a:cxn>
              <a:cxn ang="0">
                <a:pos x="3348" y="9940"/>
              </a:cxn>
              <a:cxn ang="0">
                <a:pos x="3436" y="10473"/>
              </a:cxn>
              <a:cxn ang="0">
                <a:pos x="6335" y="19052"/>
              </a:cxn>
            </a:cxnLst>
            <a:rect l="0" t="0" r="r" b="b"/>
            <a:pathLst>
              <a:path w="16031" h="19052">
                <a:moveTo>
                  <a:pt x="15896" y="16936"/>
                </a:moveTo>
                <a:lnTo>
                  <a:pt x="15891" y="16924"/>
                </a:lnTo>
                <a:lnTo>
                  <a:pt x="15885" y="16911"/>
                </a:lnTo>
                <a:lnTo>
                  <a:pt x="15877" y="16900"/>
                </a:lnTo>
                <a:lnTo>
                  <a:pt x="15870" y="16890"/>
                </a:lnTo>
                <a:lnTo>
                  <a:pt x="15853" y="16870"/>
                </a:lnTo>
                <a:lnTo>
                  <a:pt x="15832" y="16843"/>
                </a:lnTo>
                <a:lnTo>
                  <a:pt x="15808" y="16814"/>
                </a:lnTo>
                <a:lnTo>
                  <a:pt x="15783" y="16784"/>
                </a:lnTo>
                <a:lnTo>
                  <a:pt x="15759" y="16755"/>
                </a:lnTo>
                <a:lnTo>
                  <a:pt x="15736" y="16727"/>
                </a:lnTo>
                <a:lnTo>
                  <a:pt x="15717" y="16705"/>
                </a:lnTo>
                <a:lnTo>
                  <a:pt x="15705" y="16690"/>
                </a:lnTo>
                <a:lnTo>
                  <a:pt x="10714" y="2052"/>
                </a:lnTo>
                <a:lnTo>
                  <a:pt x="10714" y="2031"/>
                </a:lnTo>
                <a:lnTo>
                  <a:pt x="10717" y="2004"/>
                </a:lnTo>
                <a:lnTo>
                  <a:pt x="10718" y="1972"/>
                </a:lnTo>
                <a:lnTo>
                  <a:pt x="10719" y="1937"/>
                </a:lnTo>
                <a:lnTo>
                  <a:pt x="10721" y="1901"/>
                </a:lnTo>
                <a:lnTo>
                  <a:pt x="10723" y="1867"/>
                </a:lnTo>
                <a:lnTo>
                  <a:pt x="10724" y="1837"/>
                </a:lnTo>
                <a:lnTo>
                  <a:pt x="10726" y="1811"/>
                </a:lnTo>
                <a:lnTo>
                  <a:pt x="10726" y="1796"/>
                </a:lnTo>
                <a:lnTo>
                  <a:pt x="10726" y="1781"/>
                </a:lnTo>
                <a:lnTo>
                  <a:pt x="10723" y="1766"/>
                </a:lnTo>
                <a:lnTo>
                  <a:pt x="10719" y="1751"/>
                </a:lnTo>
                <a:lnTo>
                  <a:pt x="10697" y="1687"/>
                </a:lnTo>
                <a:lnTo>
                  <a:pt x="10674" y="1624"/>
                </a:lnTo>
                <a:lnTo>
                  <a:pt x="10650" y="1561"/>
                </a:lnTo>
                <a:lnTo>
                  <a:pt x="10625" y="1498"/>
                </a:lnTo>
                <a:lnTo>
                  <a:pt x="10600" y="1437"/>
                </a:lnTo>
                <a:lnTo>
                  <a:pt x="10573" y="1376"/>
                </a:lnTo>
                <a:lnTo>
                  <a:pt x="10547" y="1314"/>
                </a:lnTo>
                <a:lnTo>
                  <a:pt x="10519" y="1255"/>
                </a:lnTo>
                <a:lnTo>
                  <a:pt x="10490" y="1195"/>
                </a:lnTo>
                <a:lnTo>
                  <a:pt x="10462" y="1137"/>
                </a:lnTo>
                <a:lnTo>
                  <a:pt x="10433" y="1078"/>
                </a:lnTo>
                <a:lnTo>
                  <a:pt x="10401" y="1020"/>
                </a:lnTo>
                <a:lnTo>
                  <a:pt x="10370" y="964"/>
                </a:lnTo>
                <a:lnTo>
                  <a:pt x="10338" y="907"/>
                </a:lnTo>
                <a:lnTo>
                  <a:pt x="10306" y="852"/>
                </a:lnTo>
                <a:lnTo>
                  <a:pt x="10272" y="796"/>
                </a:lnTo>
                <a:lnTo>
                  <a:pt x="10238" y="741"/>
                </a:lnTo>
                <a:lnTo>
                  <a:pt x="10202" y="687"/>
                </a:lnTo>
                <a:lnTo>
                  <a:pt x="10167" y="634"/>
                </a:lnTo>
                <a:lnTo>
                  <a:pt x="10131" y="581"/>
                </a:lnTo>
                <a:lnTo>
                  <a:pt x="10093" y="528"/>
                </a:lnTo>
                <a:lnTo>
                  <a:pt x="10055" y="477"/>
                </a:lnTo>
                <a:lnTo>
                  <a:pt x="10017" y="426"/>
                </a:lnTo>
                <a:lnTo>
                  <a:pt x="9977" y="376"/>
                </a:lnTo>
                <a:lnTo>
                  <a:pt x="9938" y="327"/>
                </a:lnTo>
                <a:lnTo>
                  <a:pt x="9897" y="278"/>
                </a:lnTo>
                <a:lnTo>
                  <a:pt x="9856" y="230"/>
                </a:lnTo>
                <a:lnTo>
                  <a:pt x="9814" y="182"/>
                </a:lnTo>
                <a:lnTo>
                  <a:pt x="9771" y="136"/>
                </a:lnTo>
                <a:lnTo>
                  <a:pt x="9728" y="89"/>
                </a:lnTo>
                <a:lnTo>
                  <a:pt x="9684" y="44"/>
                </a:lnTo>
                <a:lnTo>
                  <a:pt x="9640" y="0"/>
                </a:lnTo>
                <a:lnTo>
                  <a:pt x="9198" y="0"/>
                </a:lnTo>
                <a:lnTo>
                  <a:pt x="9251" y="45"/>
                </a:lnTo>
                <a:lnTo>
                  <a:pt x="9303" y="92"/>
                </a:lnTo>
                <a:lnTo>
                  <a:pt x="9354" y="138"/>
                </a:lnTo>
                <a:lnTo>
                  <a:pt x="9405" y="186"/>
                </a:lnTo>
                <a:lnTo>
                  <a:pt x="9454" y="235"/>
                </a:lnTo>
                <a:lnTo>
                  <a:pt x="9503" y="286"/>
                </a:lnTo>
                <a:lnTo>
                  <a:pt x="9551" y="336"/>
                </a:lnTo>
                <a:lnTo>
                  <a:pt x="9599" y="387"/>
                </a:lnTo>
                <a:lnTo>
                  <a:pt x="9644" y="439"/>
                </a:lnTo>
                <a:lnTo>
                  <a:pt x="9689" y="492"/>
                </a:lnTo>
                <a:lnTo>
                  <a:pt x="9734" y="546"/>
                </a:lnTo>
                <a:lnTo>
                  <a:pt x="9778" y="601"/>
                </a:lnTo>
                <a:lnTo>
                  <a:pt x="9821" y="657"/>
                </a:lnTo>
                <a:lnTo>
                  <a:pt x="9863" y="713"/>
                </a:lnTo>
                <a:lnTo>
                  <a:pt x="9903" y="770"/>
                </a:lnTo>
                <a:lnTo>
                  <a:pt x="9943" y="828"/>
                </a:lnTo>
                <a:lnTo>
                  <a:pt x="9982" y="886"/>
                </a:lnTo>
                <a:lnTo>
                  <a:pt x="10021" y="945"/>
                </a:lnTo>
                <a:lnTo>
                  <a:pt x="10058" y="1005"/>
                </a:lnTo>
                <a:lnTo>
                  <a:pt x="10094" y="1065"/>
                </a:lnTo>
                <a:lnTo>
                  <a:pt x="10129" y="1127"/>
                </a:lnTo>
                <a:lnTo>
                  <a:pt x="10163" y="1189"/>
                </a:lnTo>
                <a:lnTo>
                  <a:pt x="10197" y="1252"/>
                </a:lnTo>
                <a:lnTo>
                  <a:pt x="10229" y="1314"/>
                </a:lnTo>
                <a:lnTo>
                  <a:pt x="10260" y="1379"/>
                </a:lnTo>
                <a:lnTo>
                  <a:pt x="10290" y="1444"/>
                </a:lnTo>
                <a:lnTo>
                  <a:pt x="10319" y="1508"/>
                </a:lnTo>
                <a:lnTo>
                  <a:pt x="10348" y="1575"/>
                </a:lnTo>
                <a:lnTo>
                  <a:pt x="10375" y="1640"/>
                </a:lnTo>
                <a:lnTo>
                  <a:pt x="10401" y="1708"/>
                </a:lnTo>
                <a:lnTo>
                  <a:pt x="10426" y="1775"/>
                </a:lnTo>
                <a:lnTo>
                  <a:pt x="10450" y="1843"/>
                </a:lnTo>
                <a:lnTo>
                  <a:pt x="10455" y="1855"/>
                </a:lnTo>
                <a:lnTo>
                  <a:pt x="10462" y="1868"/>
                </a:lnTo>
                <a:lnTo>
                  <a:pt x="10468" y="1879"/>
                </a:lnTo>
                <a:lnTo>
                  <a:pt x="10477" y="1889"/>
                </a:lnTo>
                <a:lnTo>
                  <a:pt x="10513" y="1933"/>
                </a:lnTo>
                <a:lnTo>
                  <a:pt x="10561" y="1989"/>
                </a:lnTo>
                <a:lnTo>
                  <a:pt x="10606" y="2042"/>
                </a:lnTo>
                <a:lnTo>
                  <a:pt x="10636" y="2076"/>
                </a:lnTo>
                <a:lnTo>
                  <a:pt x="15629" y="16722"/>
                </a:lnTo>
                <a:lnTo>
                  <a:pt x="15628" y="16746"/>
                </a:lnTo>
                <a:lnTo>
                  <a:pt x="15627" y="16776"/>
                </a:lnTo>
                <a:lnTo>
                  <a:pt x="15626" y="16812"/>
                </a:lnTo>
                <a:lnTo>
                  <a:pt x="15624" y="16848"/>
                </a:lnTo>
                <a:lnTo>
                  <a:pt x="15623" y="16886"/>
                </a:lnTo>
                <a:lnTo>
                  <a:pt x="15622" y="16922"/>
                </a:lnTo>
                <a:lnTo>
                  <a:pt x="15621" y="16954"/>
                </a:lnTo>
                <a:lnTo>
                  <a:pt x="15619" y="16978"/>
                </a:lnTo>
                <a:lnTo>
                  <a:pt x="15619" y="16990"/>
                </a:lnTo>
                <a:lnTo>
                  <a:pt x="15621" y="17003"/>
                </a:lnTo>
                <a:lnTo>
                  <a:pt x="15623" y="17015"/>
                </a:lnTo>
                <a:lnTo>
                  <a:pt x="15627" y="17028"/>
                </a:lnTo>
                <a:lnTo>
                  <a:pt x="15647" y="17091"/>
                </a:lnTo>
                <a:lnTo>
                  <a:pt x="15666" y="17155"/>
                </a:lnTo>
                <a:lnTo>
                  <a:pt x="15682" y="17218"/>
                </a:lnTo>
                <a:lnTo>
                  <a:pt x="15697" y="17282"/>
                </a:lnTo>
                <a:lnTo>
                  <a:pt x="15710" y="17346"/>
                </a:lnTo>
                <a:lnTo>
                  <a:pt x="15720" y="17410"/>
                </a:lnTo>
                <a:lnTo>
                  <a:pt x="15730" y="17475"/>
                </a:lnTo>
                <a:lnTo>
                  <a:pt x="15736" y="17540"/>
                </a:lnTo>
                <a:lnTo>
                  <a:pt x="15741" y="17604"/>
                </a:lnTo>
                <a:lnTo>
                  <a:pt x="15744" y="17668"/>
                </a:lnTo>
                <a:lnTo>
                  <a:pt x="15745" y="17732"/>
                </a:lnTo>
                <a:lnTo>
                  <a:pt x="15745" y="17797"/>
                </a:lnTo>
                <a:lnTo>
                  <a:pt x="15743" y="17860"/>
                </a:lnTo>
                <a:lnTo>
                  <a:pt x="15738" y="17924"/>
                </a:lnTo>
                <a:lnTo>
                  <a:pt x="15731" y="17988"/>
                </a:lnTo>
                <a:lnTo>
                  <a:pt x="15722" y="18051"/>
                </a:lnTo>
                <a:lnTo>
                  <a:pt x="15712" y="18114"/>
                </a:lnTo>
                <a:lnTo>
                  <a:pt x="15701" y="18177"/>
                </a:lnTo>
                <a:lnTo>
                  <a:pt x="15686" y="18238"/>
                </a:lnTo>
                <a:lnTo>
                  <a:pt x="15671" y="18301"/>
                </a:lnTo>
                <a:lnTo>
                  <a:pt x="15653" y="18361"/>
                </a:lnTo>
                <a:lnTo>
                  <a:pt x="15633" y="18423"/>
                </a:lnTo>
                <a:lnTo>
                  <a:pt x="15612" y="18483"/>
                </a:lnTo>
                <a:lnTo>
                  <a:pt x="15588" y="18544"/>
                </a:lnTo>
                <a:lnTo>
                  <a:pt x="15563" y="18603"/>
                </a:lnTo>
                <a:lnTo>
                  <a:pt x="15536" y="18662"/>
                </a:lnTo>
                <a:lnTo>
                  <a:pt x="15507" y="18721"/>
                </a:lnTo>
                <a:lnTo>
                  <a:pt x="15477" y="18778"/>
                </a:lnTo>
                <a:lnTo>
                  <a:pt x="15444" y="18836"/>
                </a:lnTo>
                <a:lnTo>
                  <a:pt x="15409" y="18892"/>
                </a:lnTo>
                <a:lnTo>
                  <a:pt x="15374" y="18948"/>
                </a:lnTo>
                <a:lnTo>
                  <a:pt x="15335" y="19002"/>
                </a:lnTo>
                <a:lnTo>
                  <a:pt x="15326" y="19014"/>
                </a:lnTo>
                <a:lnTo>
                  <a:pt x="15317" y="19027"/>
                </a:lnTo>
                <a:lnTo>
                  <a:pt x="15309" y="19039"/>
                </a:lnTo>
                <a:lnTo>
                  <a:pt x="15299" y="19052"/>
                </a:lnTo>
                <a:lnTo>
                  <a:pt x="15646" y="19052"/>
                </a:lnTo>
                <a:lnTo>
                  <a:pt x="15682" y="18992"/>
                </a:lnTo>
                <a:lnTo>
                  <a:pt x="15717" y="18931"/>
                </a:lnTo>
                <a:lnTo>
                  <a:pt x="15750" y="18871"/>
                </a:lnTo>
                <a:lnTo>
                  <a:pt x="15782" y="18808"/>
                </a:lnTo>
                <a:lnTo>
                  <a:pt x="15812" y="18746"/>
                </a:lnTo>
                <a:lnTo>
                  <a:pt x="15839" y="18683"/>
                </a:lnTo>
                <a:lnTo>
                  <a:pt x="15865" y="18619"/>
                </a:lnTo>
                <a:lnTo>
                  <a:pt x="15889" y="18555"/>
                </a:lnTo>
                <a:lnTo>
                  <a:pt x="15911" y="18490"/>
                </a:lnTo>
                <a:lnTo>
                  <a:pt x="15931" y="18426"/>
                </a:lnTo>
                <a:lnTo>
                  <a:pt x="15950" y="18359"/>
                </a:lnTo>
                <a:lnTo>
                  <a:pt x="15967" y="18293"/>
                </a:lnTo>
                <a:lnTo>
                  <a:pt x="15982" y="18227"/>
                </a:lnTo>
                <a:lnTo>
                  <a:pt x="15994" y="18160"/>
                </a:lnTo>
                <a:lnTo>
                  <a:pt x="16004" y="18093"/>
                </a:lnTo>
                <a:lnTo>
                  <a:pt x="16014" y="18026"/>
                </a:lnTo>
                <a:lnTo>
                  <a:pt x="16021" y="17958"/>
                </a:lnTo>
                <a:lnTo>
                  <a:pt x="16026" y="17890"/>
                </a:lnTo>
                <a:lnTo>
                  <a:pt x="16029" y="17822"/>
                </a:lnTo>
                <a:lnTo>
                  <a:pt x="16031" y="17754"/>
                </a:lnTo>
                <a:lnTo>
                  <a:pt x="16031" y="17686"/>
                </a:lnTo>
                <a:lnTo>
                  <a:pt x="16028" y="17618"/>
                </a:lnTo>
                <a:lnTo>
                  <a:pt x="16023" y="17549"/>
                </a:lnTo>
                <a:lnTo>
                  <a:pt x="16017" y="17481"/>
                </a:lnTo>
                <a:lnTo>
                  <a:pt x="16008" y="17412"/>
                </a:lnTo>
                <a:lnTo>
                  <a:pt x="15998" y="17344"/>
                </a:lnTo>
                <a:lnTo>
                  <a:pt x="15987" y="17276"/>
                </a:lnTo>
                <a:lnTo>
                  <a:pt x="15972" y="17207"/>
                </a:lnTo>
                <a:lnTo>
                  <a:pt x="15956" y="17139"/>
                </a:lnTo>
                <a:lnTo>
                  <a:pt x="15938" y="17071"/>
                </a:lnTo>
                <a:lnTo>
                  <a:pt x="15917" y="17003"/>
                </a:lnTo>
                <a:lnTo>
                  <a:pt x="15896" y="16936"/>
                </a:lnTo>
                <a:close/>
                <a:moveTo>
                  <a:pt x="0" y="19052"/>
                </a:moveTo>
                <a:lnTo>
                  <a:pt x="4192" y="19052"/>
                </a:lnTo>
                <a:lnTo>
                  <a:pt x="4135" y="19007"/>
                </a:lnTo>
                <a:lnTo>
                  <a:pt x="4078" y="18961"/>
                </a:lnTo>
                <a:lnTo>
                  <a:pt x="4023" y="18915"/>
                </a:lnTo>
                <a:lnTo>
                  <a:pt x="3969" y="18867"/>
                </a:lnTo>
                <a:lnTo>
                  <a:pt x="3916" y="18818"/>
                </a:lnTo>
                <a:lnTo>
                  <a:pt x="3863" y="18768"/>
                </a:lnTo>
                <a:lnTo>
                  <a:pt x="3810" y="18717"/>
                </a:lnTo>
                <a:lnTo>
                  <a:pt x="3760" y="18666"/>
                </a:lnTo>
                <a:lnTo>
                  <a:pt x="3710" y="18613"/>
                </a:lnTo>
                <a:lnTo>
                  <a:pt x="3661" y="18560"/>
                </a:lnTo>
                <a:lnTo>
                  <a:pt x="3613" y="18506"/>
                </a:lnTo>
                <a:lnTo>
                  <a:pt x="3565" y="18451"/>
                </a:lnTo>
                <a:lnTo>
                  <a:pt x="3519" y="18394"/>
                </a:lnTo>
                <a:lnTo>
                  <a:pt x="3473" y="18338"/>
                </a:lnTo>
                <a:lnTo>
                  <a:pt x="3429" y="18280"/>
                </a:lnTo>
                <a:lnTo>
                  <a:pt x="3385" y="18221"/>
                </a:lnTo>
                <a:lnTo>
                  <a:pt x="3344" y="18161"/>
                </a:lnTo>
                <a:lnTo>
                  <a:pt x="3302" y="18101"/>
                </a:lnTo>
                <a:lnTo>
                  <a:pt x="3262" y="18039"/>
                </a:lnTo>
                <a:lnTo>
                  <a:pt x="3222" y="17978"/>
                </a:lnTo>
                <a:lnTo>
                  <a:pt x="3184" y="17915"/>
                </a:lnTo>
                <a:lnTo>
                  <a:pt x="3146" y="17851"/>
                </a:lnTo>
                <a:lnTo>
                  <a:pt x="3111" y="17787"/>
                </a:lnTo>
                <a:lnTo>
                  <a:pt x="3076" y="17721"/>
                </a:lnTo>
                <a:lnTo>
                  <a:pt x="3042" y="17656"/>
                </a:lnTo>
                <a:lnTo>
                  <a:pt x="3009" y="17589"/>
                </a:lnTo>
                <a:lnTo>
                  <a:pt x="2978" y="17521"/>
                </a:lnTo>
                <a:lnTo>
                  <a:pt x="2946" y="17453"/>
                </a:lnTo>
                <a:lnTo>
                  <a:pt x="2917" y="17384"/>
                </a:lnTo>
                <a:lnTo>
                  <a:pt x="2890" y="17314"/>
                </a:lnTo>
                <a:lnTo>
                  <a:pt x="2863" y="17244"/>
                </a:lnTo>
                <a:lnTo>
                  <a:pt x="2837" y="17173"/>
                </a:lnTo>
                <a:lnTo>
                  <a:pt x="620" y="10848"/>
                </a:lnTo>
                <a:lnTo>
                  <a:pt x="593" y="10765"/>
                </a:lnTo>
                <a:lnTo>
                  <a:pt x="567" y="10683"/>
                </a:lnTo>
                <a:lnTo>
                  <a:pt x="542" y="10600"/>
                </a:lnTo>
                <a:lnTo>
                  <a:pt x="521" y="10516"/>
                </a:lnTo>
                <a:lnTo>
                  <a:pt x="499" y="10433"/>
                </a:lnTo>
                <a:lnTo>
                  <a:pt x="481" y="10349"/>
                </a:lnTo>
                <a:lnTo>
                  <a:pt x="464" y="10264"/>
                </a:lnTo>
                <a:lnTo>
                  <a:pt x="449" y="10179"/>
                </a:lnTo>
                <a:lnTo>
                  <a:pt x="435" y="10095"/>
                </a:lnTo>
                <a:lnTo>
                  <a:pt x="424" y="10009"/>
                </a:lnTo>
                <a:lnTo>
                  <a:pt x="414" y="9923"/>
                </a:lnTo>
                <a:lnTo>
                  <a:pt x="405" y="9838"/>
                </a:lnTo>
                <a:lnTo>
                  <a:pt x="399" y="9752"/>
                </a:lnTo>
                <a:lnTo>
                  <a:pt x="395" y="9667"/>
                </a:lnTo>
                <a:lnTo>
                  <a:pt x="392" y="9580"/>
                </a:lnTo>
                <a:lnTo>
                  <a:pt x="391" y="9495"/>
                </a:lnTo>
                <a:lnTo>
                  <a:pt x="392" y="9409"/>
                </a:lnTo>
                <a:lnTo>
                  <a:pt x="395" y="9322"/>
                </a:lnTo>
                <a:lnTo>
                  <a:pt x="399" y="9237"/>
                </a:lnTo>
                <a:lnTo>
                  <a:pt x="405" y="9151"/>
                </a:lnTo>
                <a:lnTo>
                  <a:pt x="414" y="9066"/>
                </a:lnTo>
                <a:lnTo>
                  <a:pt x="424" y="8980"/>
                </a:lnTo>
                <a:lnTo>
                  <a:pt x="435" y="8895"/>
                </a:lnTo>
                <a:lnTo>
                  <a:pt x="448" y="8810"/>
                </a:lnTo>
                <a:lnTo>
                  <a:pt x="464" y="8725"/>
                </a:lnTo>
                <a:lnTo>
                  <a:pt x="481" y="8640"/>
                </a:lnTo>
                <a:lnTo>
                  <a:pt x="499" y="8556"/>
                </a:lnTo>
                <a:lnTo>
                  <a:pt x="520" y="8473"/>
                </a:lnTo>
                <a:lnTo>
                  <a:pt x="542" y="8389"/>
                </a:lnTo>
                <a:lnTo>
                  <a:pt x="567" y="8306"/>
                </a:lnTo>
                <a:lnTo>
                  <a:pt x="593" y="8224"/>
                </a:lnTo>
                <a:lnTo>
                  <a:pt x="620" y="8141"/>
                </a:lnTo>
                <a:lnTo>
                  <a:pt x="2837" y="1829"/>
                </a:lnTo>
                <a:lnTo>
                  <a:pt x="2862" y="1761"/>
                </a:lnTo>
                <a:lnTo>
                  <a:pt x="2887" y="1693"/>
                </a:lnTo>
                <a:lnTo>
                  <a:pt x="2915" y="1625"/>
                </a:lnTo>
                <a:lnTo>
                  <a:pt x="2942" y="1559"/>
                </a:lnTo>
                <a:lnTo>
                  <a:pt x="2971" y="1493"/>
                </a:lnTo>
                <a:lnTo>
                  <a:pt x="3002" y="1428"/>
                </a:lnTo>
                <a:lnTo>
                  <a:pt x="3033" y="1364"/>
                </a:lnTo>
                <a:lnTo>
                  <a:pt x="3066" y="1299"/>
                </a:lnTo>
                <a:lnTo>
                  <a:pt x="3098" y="1237"/>
                </a:lnTo>
                <a:lnTo>
                  <a:pt x="3134" y="1174"/>
                </a:lnTo>
                <a:lnTo>
                  <a:pt x="3169" y="1112"/>
                </a:lnTo>
                <a:lnTo>
                  <a:pt x="3205" y="1050"/>
                </a:lnTo>
                <a:lnTo>
                  <a:pt x="3243" y="991"/>
                </a:lnTo>
                <a:lnTo>
                  <a:pt x="3281" y="931"/>
                </a:lnTo>
                <a:lnTo>
                  <a:pt x="3321" y="873"/>
                </a:lnTo>
                <a:lnTo>
                  <a:pt x="3361" y="815"/>
                </a:lnTo>
                <a:lnTo>
                  <a:pt x="3403" y="757"/>
                </a:lnTo>
                <a:lnTo>
                  <a:pt x="3444" y="701"/>
                </a:lnTo>
                <a:lnTo>
                  <a:pt x="3487" y="645"/>
                </a:lnTo>
                <a:lnTo>
                  <a:pt x="3531" y="591"/>
                </a:lnTo>
                <a:lnTo>
                  <a:pt x="3576" y="537"/>
                </a:lnTo>
                <a:lnTo>
                  <a:pt x="3622" y="483"/>
                </a:lnTo>
                <a:lnTo>
                  <a:pt x="3670" y="431"/>
                </a:lnTo>
                <a:lnTo>
                  <a:pt x="3716" y="380"/>
                </a:lnTo>
                <a:lnTo>
                  <a:pt x="3765" y="330"/>
                </a:lnTo>
                <a:lnTo>
                  <a:pt x="3814" y="279"/>
                </a:lnTo>
                <a:lnTo>
                  <a:pt x="3863" y="230"/>
                </a:lnTo>
                <a:lnTo>
                  <a:pt x="3915" y="182"/>
                </a:lnTo>
                <a:lnTo>
                  <a:pt x="3966" y="136"/>
                </a:lnTo>
                <a:lnTo>
                  <a:pt x="4018" y="89"/>
                </a:lnTo>
                <a:lnTo>
                  <a:pt x="4071" y="44"/>
                </a:lnTo>
                <a:lnTo>
                  <a:pt x="4125" y="0"/>
                </a:lnTo>
                <a:lnTo>
                  <a:pt x="0" y="0"/>
                </a:lnTo>
                <a:lnTo>
                  <a:pt x="0" y="19052"/>
                </a:lnTo>
                <a:close/>
                <a:moveTo>
                  <a:pt x="6335" y="19052"/>
                </a:moveTo>
                <a:lnTo>
                  <a:pt x="6421" y="19052"/>
                </a:lnTo>
                <a:lnTo>
                  <a:pt x="3636" y="10881"/>
                </a:lnTo>
                <a:lnTo>
                  <a:pt x="3608" y="10796"/>
                </a:lnTo>
                <a:lnTo>
                  <a:pt x="3582" y="10712"/>
                </a:lnTo>
                <a:lnTo>
                  <a:pt x="3558" y="10627"/>
                </a:lnTo>
                <a:lnTo>
                  <a:pt x="3535" y="10541"/>
                </a:lnTo>
                <a:lnTo>
                  <a:pt x="3515" y="10456"/>
                </a:lnTo>
                <a:lnTo>
                  <a:pt x="3496" y="10369"/>
                </a:lnTo>
                <a:lnTo>
                  <a:pt x="3478" y="10282"/>
                </a:lnTo>
                <a:lnTo>
                  <a:pt x="3463" y="10195"/>
                </a:lnTo>
                <a:lnTo>
                  <a:pt x="3451" y="10107"/>
                </a:lnTo>
                <a:lnTo>
                  <a:pt x="3438" y="10020"/>
                </a:lnTo>
                <a:lnTo>
                  <a:pt x="3429" y="9932"/>
                </a:lnTo>
                <a:lnTo>
                  <a:pt x="3421" y="9844"/>
                </a:lnTo>
                <a:lnTo>
                  <a:pt x="3414" y="9756"/>
                </a:lnTo>
                <a:lnTo>
                  <a:pt x="3410" y="9668"/>
                </a:lnTo>
                <a:lnTo>
                  <a:pt x="3407" y="9580"/>
                </a:lnTo>
                <a:lnTo>
                  <a:pt x="3407" y="9492"/>
                </a:lnTo>
                <a:lnTo>
                  <a:pt x="3407" y="9403"/>
                </a:lnTo>
                <a:lnTo>
                  <a:pt x="3410" y="9315"/>
                </a:lnTo>
                <a:lnTo>
                  <a:pt x="3414" y="9227"/>
                </a:lnTo>
                <a:lnTo>
                  <a:pt x="3421" y="9139"/>
                </a:lnTo>
                <a:lnTo>
                  <a:pt x="3429" y="9051"/>
                </a:lnTo>
                <a:lnTo>
                  <a:pt x="3438" y="8962"/>
                </a:lnTo>
                <a:lnTo>
                  <a:pt x="3451" y="8876"/>
                </a:lnTo>
                <a:lnTo>
                  <a:pt x="3463" y="8788"/>
                </a:lnTo>
                <a:lnTo>
                  <a:pt x="3478" y="8701"/>
                </a:lnTo>
                <a:lnTo>
                  <a:pt x="3496" y="8614"/>
                </a:lnTo>
                <a:lnTo>
                  <a:pt x="3515" y="8527"/>
                </a:lnTo>
                <a:lnTo>
                  <a:pt x="3535" y="8442"/>
                </a:lnTo>
                <a:lnTo>
                  <a:pt x="3558" y="8356"/>
                </a:lnTo>
                <a:lnTo>
                  <a:pt x="3582" y="8271"/>
                </a:lnTo>
                <a:lnTo>
                  <a:pt x="3608" y="8186"/>
                </a:lnTo>
                <a:lnTo>
                  <a:pt x="3636" y="8102"/>
                </a:lnTo>
                <a:lnTo>
                  <a:pt x="6397" y="0"/>
                </a:lnTo>
                <a:lnTo>
                  <a:pt x="6311" y="0"/>
                </a:lnTo>
                <a:lnTo>
                  <a:pt x="3559" y="8076"/>
                </a:lnTo>
                <a:lnTo>
                  <a:pt x="3530" y="8161"/>
                </a:lnTo>
                <a:lnTo>
                  <a:pt x="3504" y="8248"/>
                </a:lnTo>
                <a:lnTo>
                  <a:pt x="3480" y="8335"/>
                </a:lnTo>
                <a:lnTo>
                  <a:pt x="3456" y="8422"/>
                </a:lnTo>
                <a:lnTo>
                  <a:pt x="3436" y="8510"/>
                </a:lnTo>
                <a:lnTo>
                  <a:pt x="3417" y="8598"/>
                </a:lnTo>
                <a:lnTo>
                  <a:pt x="3399" y="8686"/>
                </a:lnTo>
                <a:lnTo>
                  <a:pt x="3383" y="8775"/>
                </a:lnTo>
                <a:lnTo>
                  <a:pt x="3370" y="8863"/>
                </a:lnTo>
                <a:lnTo>
                  <a:pt x="3358" y="8952"/>
                </a:lnTo>
                <a:lnTo>
                  <a:pt x="3348" y="9043"/>
                </a:lnTo>
                <a:lnTo>
                  <a:pt x="3340" y="9132"/>
                </a:lnTo>
                <a:lnTo>
                  <a:pt x="3334" y="9222"/>
                </a:lnTo>
                <a:lnTo>
                  <a:pt x="3329" y="9312"/>
                </a:lnTo>
                <a:lnTo>
                  <a:pt x="3326" y="9401"/>
                </a:lnTo>
                <a:lnTo>
                  <a:pt x="3325" y="9491"/>
                </a:lnTo>
                <a:lnTo>
                  <a:pt x="3326" y="9581"/>
                </a:lnTo>
                <a:lnTo>
                  <a:pt x="3329" y="9671"/>
                </a:lnTo>
                <a:lnTo>
                  <a:pt x="3334" y="9761"/>
                </a:lnTo>
                <a:lnTo>
                  <a:pt x="3340" y="9851"/>
                </a:lnTo>
                <a:lnTo>
                  <a:pt x="3348" y="9940"/>
                </a:lnTo>
                <a:lnTo>
                  <a:pt x="3358" y="10030"/>
                </a:lnTo>
                <a:lnTo>
                  <a:pt x="3370" y="10118"/>
                </a:lnTo>
                <a:lnTo>
                  <a:pt x="3383" y="10208"/>
                </a:lnTo>
                <a:lnTo>
                  <a:pt x="3399" y="10297"/>
                </a:lnTo>
                <a:lnTo>
                  <a:pt x="3417" y="10385"/>
                </a:lnTo>
                <a:lnTo>
                  <a:pt x="3436" y="10473"/>
                </a:lnTo>
                <a:lnTo>
                  <a:pt x="3456" y="10561"/>
                </a:lnTo>
                <a:lnTo>
                  <a:pt x="3480" y="10648"/>
                </a:lnTo>
                <a:lnTo>
                  <a:pt x="3504" y="10735"/>
                </a:lnTo>
                <a:lnTo>
                  <a:pt x="3530" y="10822"/>
                </a:lnTo>
                <a:lnTo>
                  <a:pt x="3559" y="10907"/>
                </a:lnTo>
                <a:lnTo>
                  <a:pt x="6335" y="19052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3078" name="Freeform 6"/>
          <p:cNvSpPr>
            <a:spLocks/>
          </p:cNvSpPr>
          <p:nvPr/>
        </p:nvSpPr>
        <p:spPr bwMode="auto">
          <a:xfrm>
            <a:off x="5783505" y="1927234"/>
            <a:ext cx="1353076" cy="3076575"/>
          </a:xfrm>
          <a:custGeom>
            <a:avLst/>
            <a:gdLst/>
            <a:ahLst/>
            <a:cxnLst>
              <a:cxn ang="0">
                <a:pos x="2715" y="7731"/>
              </a:cxn>
              <a:cxn ang="0">
                <a:pos x="78" y="0"/>
              </a:cxn>
              <a:cxn ang="0">
                <a:pos x="0" y="23"/>
              </a:cxn>
              <a:cxn ang="0">
                <a:pos x="2636" y="7754"/>
              </a:cxn>
              <a:cxn ang="0">
                <a:pos x="2715" y="7731"/>
              </a:cxn>
            </a:cxnLst>
            <a:rect l="0" t="0" r="r" b="b"/>
            <a:pathLst>
              <a:path w="2715" h="7754">
                <a:moveTo>
                  <a:pt x="2715" y="7731"/>
                </a:moveTo>
                <a:lnTo>
                  <a:pt x="78" y="0"/>
                </a:lnTo>
                <a:lnTo>
                  <a:pt x="0" y="23"/>
                </a:lnTo>
                <a:lnTo>
                  <a:pt x="2636" y="7754"/>
                </a:lnTo>
                <a:lnTo>
                  <a:pt x="2715" y="7731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1888" y="2139585"/>
            <a:ext cx="1793963" cy="668479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 1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Freeform 5"/>
          <p:cNvSpPr>
            <a:spLocks/>
          </p:cNvSpPr>
          <p:nvPr userDrawn="1"/>
        </p:nvSpPr>
        <p:spPr bwMode="auto">
          <a:xfrm>
            <a:off x="6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0" name="Freeform 6"/>
          <p:cNvSpPr>
            <a:spLocks noEditPoints="1"/>
          </p:cNvSpPr>
          <p:nvPr userDrawn="1"/>
        </p:nvSpPr>
        <p:spPr bwMode="auto">
          <a:xfrm>
            <a:off x="8655302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3031455" y="3630622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4" name="Freeform 10"/>
          <p:cNvSpPr>
            <a:spLocks/>
          </p:cNvSpPr>
          <p:nvPr userDrawn="1"/>
        </p:nvSpPr>
        <p:spPr bwMode="auto">
          <a:xfrm>
            <a:off x="8856862" y="1057284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8973" y="2990549"/>
            <a:ext cx="4325004" cy="161161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2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Freeform 5"/>
          <p:cNvSpPr>
            <a:spLocks/>
          </p:cNvSpPr>
          <p:nvPr userDrawn="1"/>
        </p:nvSpPr>
        <p:spPr bwMode="auto">
          <a:xfrm>
            <a:off x="6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0" name="Freeform 6"/>
          <p:cNvSpPr>
            <a:spLocks noEditPoints="1"/>
          </p:cNvSpPr>
          <p:nvPr userDrawn="1"/>
        </p:nvSpPr>
        <p:spPr bwMode="auto">
          <a:xfrm>
            <a:off x="8655302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3031455" y="3630622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4" name="Freeform 10"/>
          <p:cNvSpPr>
            <a:spLocks/>
          </p:cNvSpPr>
          <p:nvPr userDrawn="1"/>
        </p:nvSpPr>
        <p:spPr bwMode="auto">
          <a:xfrm>
            <a:off x="8856862" y="1057284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com Título e Subtítulo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6552892" y="2412488"/>
            <a:ext cx="6324155" cy="1801763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771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16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6552892" y="4212688"/>
            <a:ext cx="6324155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514" b="0">
                <a:solidFill>
                  <a:srgbClr val="253746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  <p:sp>
        <p:nvSpPr>
          <p:cNvPr id="3077" name="Freeform 5"/>
          <p:cNvSpPr>
            <a:spLocks noEditPoints="1"/>
          </p:cNvSpPr>
          <p:nvPr userDrawn="1"/>
        </p:nvSpPr>
        <p:spPr bwMode="auto">
          <a:xfrm>
            <a:off x="-2240314" y="5"/>
            <a:ext cx="7998715" cy="7561263"/>
          </a:xfrm>
          <a:custGeom>
            <a:avLst/>
            <a:gdLst/>
            <a:ahLst/>
            <a:cxnLst>
              <a:cxn ang="0">
                <a:pos x="15853" y="16870"/>
              </a:cxn>
              <a:cxn ang="0">
                <a:pos x="15717" y="16705"/>
              </a:cxn>
              <a:cxn ang="0">
                <a:pos x="10719" y="1937"/>
              </a:cxn>
              <a:cxn ang="0">
                <a:pos x="10726" y="1781"/>
              </a:cxn>
              <a:cxn ang="0">
                <a:pos x="10625" y="1498"/>
              </a:cxn>
              <a:cxn ang="0">
                <a:pos x="10462" y="1137"/>
              </a:cxn>
              <a:cxn ang="0">
                <a:pos x="10272" y="796"/>
              </a:cxn>
              <a:cxn ang="0">
                <a:pos x="10055" y="477"/>
              </a:cxn>
              <a:cxn ang="0">
                <a:pos x="9814" y="182"/>
              </a:cxn>
              <a:cxn ang="0">
                <a:pos x="9251" y="45"/>
              </a:cxn>
              <a:cxn ang="0">
                <a:pos x="9551" y="336"/>
              </a:cxn>
              <a:cxn ang="0">
                <a:pos x="9821" y="657"/>
              </a:cxn>
              <a:cxn ang="0">
                <a:pos x="10058" y="1005"/>
              </a:cxn>
              <a:cxn ang="0">
                <a:pos x="10260" y="1379"/>
              </a:cxn>
              <a:cxn ang="0">
                <a:pos x="10426" y="1775"/>
              </a:cxn>
              <a:cxn ang="0">
                <a:pos x="10513" y="1933"/>
              </a:cxn>
              <a:cxn ang="0">
                <a:pos x="15627" y="16776"/>
              </a:cxn>
              <a:cxn ang="0">
                <a:pos x="15619" y="16978"/>
              </a:cxn>
              <a:cxn ang="0">
                <a:pos x="15666" y="17155"/>
              </a:cxn>
              <a:cxn ang="0">
                <a:pos x="15736" y="17540"/>
              </a:cxn>
              <a:cxn ang="0">
                <a:pos x="15738" y="17924"/>
              </a:cxn>
              <a:cxn ang="0">
                <a:pos x="15671" y="18301"/>
              </a:cxn>
              <a:cxn ang="0">
                <a:pos x="15536" y="18662"/>
              </a:cxn>
              <a:cxn ang="0">
                <a:pos x="15335" y="19002"/>
              </a:cxn>
              <a:cxn ang="0">
                <a:pos x="15682" y="18992"/>
              </a:cxn>
              <a:cxn ang="0">
                <a:pos x="15865" y="18619"/>
              </a:cxn>
              <a:cxn ang="0">
                <a:pos x="15982" y="18227"/>
              </a:cxn>
              <a:cxn ang="0">
                <a:pos x="16029" y="17822"/>
              </a:cxn>
              <a:cxn ang="0">
                <a:pos x="16008" y="17412"/>
              </a:cxn>
              <a:cxn ang="0">
                <a:pos x="15917" y="17003"/>
              </a:cxn>
              <a:cxn ang="0">
                <a:pos x="4023" y="18915"/>
              </a:cxn>
              <a:cxn ang="0">
                <a:pos x="3710" y="18613"/>
              </a:cxn>
              <a:cxn ang="0">
                <a:pos x="3429" y="18280"/>
              </a:cxn>
              <a:cxn ang="0">
                <a:pos x="3184" y="17915"/>
              </a:cxn>
              <a:cxn ang="0">
                <a:pos x="2978" y="17521"/>
              </a:cxn>
              <a:cxn ang="0">
                <a:pos x="620" y="10848"/>
              </a:cxn>
              <a:cxn ang="0">
                <a:pos x="481" y="10349"/>
              </a:cxn>
              <a:cxn ang="0">
                <a:pos x="405" y="9838"/>
              </a:cxn>
              <a:cxn ang="0">
                <a:pos x="395" y="9322"/>
              </a:cxn>
              <a:cxn ang="0">
                <a:pos x="448" y="8810"/>
              </a:cxn>
              <a:cxn ang="0">
                <a:pos x="567" y="8306"/>
              </a:cxn>
              <a:cxn ang="0">
                <a:pos x="2915" y="1625"/>
              </a:cxn>
              <a:cxn ang="0">
                <a:pos x="3098" y="1237"/>
              </a:cxn>
              <a:cxn ang="0">
                <a:pos x="3321" y="873"/>
              </a:cxn>
              <a:cxn ang="0">
                <a:pos x="3576" y="537"/>
              </a:cxn>
              <a:cxn ang="0">
                <a:pos x="3863" y="230"/>
              </a:cxn>
              <a:cxn ang="0">
                <a:pos x="0" y="0"/>
              </a:cxn>
              <a:cxn ang="0">
                <a:pos x="3582" y="10712"/>
              </a:cxn>
              <a:cxn ang="0">
                <a:pos x="3463" y="10195"/>
              </a:cxn>
              <a:cxn ang="0">
                <a:pos x="3410" y="9668"/>
              </a:cxn>
              <a:cxn ang="0">
                <a:pos x="3421" y="9139"/>
              </a:cxn>
              <a:cxn ang="0">
                <a:pos x="3496" y="8614"/>
              </a:cxn>
              <a:cxn ang="0">
                <a:pos x="3636" y="8102"/>
              </a:cxn>
              <a:cxn ang="0">
                <a:pos x="3480" y="8335"/>
              </a:cxn>
              <a:cxn ang="0">
                <a:pos x="3370" y="8863"/>
              </a:cxn>
              <a:cxn ang="0">
                <a:pos x="3326" y="9401"/>
              </a:cxn>
              <a:cxn ang="0">
                <a:pos x="3348" y="9940"/>
              </a:cxn>
              <a:cxn ang="0">
                <a:pos x="3436" y="10473"/>
              </a:cxn>
              <a:cxn ang="0">
                <a:pos x="6335" y="19052"/>
              </a:cxn>
            </a:cxnLst>
            <a:rect l="0" t="0" r="r" b="b"/>
            <a:pathLst>
              <a:path w="16031" h="19052">
                <a:moveTo>
                  <a:pt x="15896" y="16936"/>
                </a:moveTo>
                <a:lnTo>
                  <a:pt x="15891" y="16924"/>
                </a:lnTo>
                <a:lnTo>
                  <a:pt x="15885" y="16911"/>
                </a:lnTo>
                <a:lnTo>
                  <a:pt x="15877" y="16900"/>
                </a:lnTo>
                <a:lnTo>
                  <a:pt x="15870" y="16890"/>
                </a:lnTo>
                <a:lnTo>
                  <a:pt x="15853" y="16870"/>
                </a:lnTo>
                <a:lnTo>
                  <a:pt x="15832" y="16843"/>
                </a:lnTo>
                <a:lnTo>
                  <a:pt x="15808" y="16814"/>
                </a:lnTo>
                <a:lnTo>
                  <a:pt x="15783" y="16784"/>
                </a:lnTo>
                <a:lnTo>
                  <a:pt x="15759" y="16755"/>
                </a:lnTo>
                <a:lnTo>
                  <a:pt x="15736" y="16727"/>
                </a:lnTo>
                <a:lnTo>
                  <a:pt x="15717" y="16705"/>
                </a:lnTo>
                <a:lnTo>
                  <a:pt x="15705" y="16690"/>
                </a:lnTo>
                <a:lnTo>
                  <a:pt x="10714" y="2052"/>
                </a:lnTo>
                <a:lnTo>
                  <a:pt x="10714" y="2031"/>
                </a:lnTo>
                <a:lnTo>
                  <a:pt x="10717" y="2004"/>
                </a:lnTo>
                <a:lnTo>
                  <a:pt x="10718" y="1972"/>
                </a:lnTo>
                <a:lnTo>
                  <a:pt x="10719" y="1937"/>
                </a:lnTo>
                <a:lnTo>
                  <a:pt x="10721" y="1901"/>
                </a:lnTo>
                <a:lnTo>
                  <a:pt x="10723" y="1867"/>
                </a:lnTo>
                <a:lnTo>
                  <a:pt x="10724" y="1837"/>
                </a:lnTo>
                <a:lnTo>
                  <a:pt x="10726" y="1811"/>
                </a:lnTo>
                <a:lnTo>
                  <a:pt x="10726" y="1796"/>
                </a:lnTo>
                <a:lnTo>
                  <a:pt x="10726" y="1781"/>
                </a:lnTo>
                <a:lnTo>
                  <a:pt x="10723" y="1766"/>
                </a:lnTo>
                <a:lnTo>
                  <a:pt x="10719" y="1751"/>
                </a:lnTo>
                <a:lnTo>
                  <a:pt x="10697" y="1687"/>
                </a:lnTo>
                <a:lnTo>
                  <a:pt x="10674" y="1624"/>
                </a:lnTo>
                <a:lnTo>
                  <a:pt x="10650" y="1561"/>
                </a:lnTo>
                <a:lnTo>
                  <a:pt x="10625" y="1498"/>
                </a:lnTo>
                <a:lnTo>
                  <a:pt x="10600" y="1437"/>
                </a:lnTo>
                <a:lnTo>
                  <a:pt x="10573" y="1376"/>
                </a:lnTo>
                <a:lnTo>
                  <a:pt x="10547" y="1314"/>
                </a:lnTo>
                <a:lnTo>
                  <a:pt x="10519" y="1255"/>
                </a:lnTo>
                <a:lnTo>
                  <a:pt x="10490" y="1195"/>
                </a:lnTo>
                <a:lnTo>
                  <a:pt x="10462" y="1137"/>
                </a:lnTo>
                <a:lnTo>
                  <a:pt x="10433" y="1078"/>
                </a:lnTo>
                <a:lnTo>
                  <a:pt x="10401" y="1020"/>
                </a:lnTo>
                <a:lnTo>
                  <a:pt x="10370" y="964"/>
                </a:lnTo>
                <a:lnTo>
                  <a:pt x="10338" y="907"/>
                </a:lnTo>
                <a:lnTo>
                  <a:pt x="10306" y="852"/>
                </a:lnTo>
                <a:lnTo>
                  <a:pt x="10272" y="796"/>
                </a:lnTo>
                <a:lnTo>
                  <a:pt x="10238" y="741"/>
                </a:lnTo>
                <a:lnTo>
                  <a:pt x="10202" y="687"/>
                </a:lnTo>
                <a:lnTo>
                  <a:pt x="10167" y="634"/>
                </a:lnTo>
                <a:lnTo>
                  <a:pt x="10131" y="581"/>
                </a:lnTo>
                <a:lnTo>
                  <a:pt x="10093" y="528"/>
                </a:lnTo>
                <a:lnTo>
                  <a:pt x="10055" y="477"/>
                </a:lnTo>
                <a:lnTo>
                  <a:pt x="10017" y="426"/>
                </a:lnTo>
                <a:lnTo>
                  <a:pt x="9977" y="376"/>
                </a:lnTo>
                <a:lnTo>
                  <a:pt x="9938" y="327"/>
                </a:lnTo>
                <a:lnTo>
                  <a:pt x="9897" y="278"/>
                </a:lnTo>
                <a:lnTo>
                  <a:pt x="9856" y="230"/>
                </a:lnTo>
                <a:lnTo>
                  <a:pt x="9814" y="182"/>
                </a:lnTo>
                <a:lnTo>
                  <a:pt x="9771" y="136"/>
                </a:lnTo>
                <a:lnTo>
                  <a:pt x="9728" y="89"/>
                </a:lnTo>
                <a:lnTo>
                  <a:pt x="9684" y="44"/>
                </a:lnTo>
                <a:lnTo>
                  <a:pt x="9640" y="0"/>
                </a:lnTo>
                <a:lnTo>
                  <a:pt x="9198" y="0"/>
                </a:lnTo>
                <a:lnTo>
                  <a:pt x="9251" y="45"/>
                </a:lnTo>
                <a:lnTo>
                  <a:pt x="9303" y="92"/>
                </a:lnTo>
                <a:lnTo>
                  <a:pt x="9354" y="138"/>
                </a:lnTo>
                <a:lnTo>
                  <a:pt x="9405" y="186"/>
                </a:lnTo>
                <a:lnTo>
                  <a:pt x="9454" y="235"/>
                </a:lnTo>
                <a:lnTo>
                  <a:pt x="9503" y="286"/>
                </a:lnTo>
                <a:lnTo>
                  <a:pt x="9551" y="336"/>
                </a:lnTo>
                <a:lnTo>
                  <a:pt x="9599" y="387"/>
                </a:lnTo>
                <a:lnTo>
                  <a:pt x="9644" y="439"/>
                </a:lnTo>
                <a:lnTo>
                  <a:pt x="9689" y="492"/>
                </a:lnTo>
                <a:lnTo>
                  <a:pt x="9734" y="546"/>
                </a:lnTo>
                <a:lnTo>
                  <a:pt x="9778" y="601"/>
                </a:lnTo>
                <a:lnTo>
                  <a:pt x="9821" y="657"/>
                </a:lnTo>
                <a:lnTo>
                  <a:pt x="9863" y="713"/>
                </a:lnTo>
                <a:lnTo>
                  <a:pt x="9903" y="770"/>
                </a:lnTo>
                <a:lnTo>
                  <a:pt x="9943" y="828"/>
                </a:lnTo>
                <a:lnTo>
                  <a:pt x="9982" y="886"/>
                </a:lnTo>
                <a:lnTo>
                  <a:pt x="10021" y="945"/>
                </a:lnTo>
                <a:lnTo>
                  <a:pt x="10058" y="1005"/>
                </a:lnTo>
                <a:lnTo>
                  <a:pt x="10094" y="1065"/>
                </a:lnTo>
                <a:lnTo>
                  <a:pt x="10129" y="1127"/>
                </a:lnTo>
                <a:lnTo>
                  <a:pt x="10163" y="1189"/>
                </a:lnTo>
                <a:lnTo>
                  <a:pt x="10197" y="1252"/>
                </a:lnTo>
                <a:lnTo>
                  <a:pt x="10229" y="1314"/>
                </a:lnTo>
                <a:lnTo>
                  <a:pt x="10260" y="1379"/>
                </a:lnTo>
                <a:lnTo>
                  <a:pt x="10290" y="1444"/>
                </a:lnTo>
                <a:lnTo>
                  <a:pt x="10319" y="1508"/>
                </a:lnTo>
                <a:lnTo>
                  <a:pt x="10348" y="1575"/>
                </a:lnTo>
                <a:lnTo>
                  <a:pt x="10375" y="1640"/>
                </a:lnTo>
                <a:lnTo>
                  <a:pt x="10401" y="1708"/>
                </a:lnTo>
                <a:lnTo>
                  <a:pt x="10426" y="1775"/>
                </a:lnTo>
                <a:lnTo>
                  <a:pt x="10450" y="1843"/>
                </a:lnTo>
                <a:lnTo>
                  <a:pt x="10455" y="1855"/>
                </a:lnTo>
                <a:lnTo>
                  <a:pt x="10462" y="1868"/>
                </a:lnTo>
                <a:lnTo>
                  <a:pt x="10468" y="1879"/>
                </a:lnTo>
                <a:lnTo>
                  <a:pt x="10477" y="1889"/>
                </a:lnTo>
                <a:lnTo>
                  <a:pt x="10513" y="1933"/>
                </a:lnTo>
                <a:lnTo>
                  <a:pt x="10561" y="1989"/>
                </a:lnTo>
                <a:lnTo>
                  <a:pt x="10606" y="2042"/>
                </a:lnTo>
                <a:lnTo>
                  <a:pt x="10636" y="2076"/>
                </a:lnTo>
                <a:lnTo>
                  <a:pt x="15629" y="16722"/>
                </a:lnTo>
                <a:lnTo>
                  <a:pt x="15628" y="16746"/>
                </a:lnTo>
                <a:lnTo>
                  <a:pt x="15627" y="16776"/>
                </a:lnTo>
                <a:lnTo>
                  <a:pt x="15626" y="16812"/>
                </a:lnTo>
                <a:lnTo>
                  <a:pt x="15624" y="16848"/>
                </a:lnTo>
                <a:lnTo>
                  <a:pt x="15623" y="16886"/>
                </a:lnTo>
                <a:lnTo>
                  <a:pt x="15622" y="16922"/>
                </a:lnTo>
                <a:lnTo>
                  <a:pt x="15621" y="16954"/>
                </a:lnTo>
                <a:lnTo>
                  <a:pt x="15619" y="16978"/>
                </a:lnTo>
                <a:lnTo>
                  <a:pt x="15619" y="16990"/>
                </a:lnTo>
                <a:lnTo>
                  <a:pt x="15621" y="17003"/>
                </a:lnTo>
                <a:lnTo>
                  <a:pt x="15623" y="17015"/>
                </a:lnTo>
                <a:lnTo>
                  <a:pt x="15627" y="17028"/>
                </a:lnTo>
                <a:lnTo>
                  <a:pt x="15647" y="17091"/>
                </a:lnTo>
                <a:lnTo>
                  <a:pt x="15666" y="17155"/>
                </a:lnTo>
                <a:lnTo>
                  <a:pt x="15682" y="17218"/>
                </a:lnTo>
                <a:lnTo>
                  <a:pt x="15697" y="17282"/>
                </a:lnTo>
                <a:lnTo>
                  <a:pt x="15710" y="17346"/>
                </a:lnTo>
                <a:lnTo>
                  <a:pt x="15720" y="17410"/>
                </a:lnTo>
                <a:lnTo>
                  <a:pt x="15730" y="17475"/>
                </a:lnTo>
                <a:lnTo>
                  <a:pt x="15736" y="17540"/>
                </a:lnTo>
                <a:lnTo>
                  <a:pt x="15741" y="17604"/>
                </a:lnTo>
                <a:lnTo>
                  <a:pt x="15744" y="17668"/>
                </a:lnTo>
                <a:lnTo>
                  <a:pt x="15745" y="17732"/>
                </a:lnTo>
                <a:lnTo>
                  <a:pt x="15745" y="17797"/>
                </a:lnTo>
                <a:lnTo>
                  <a:pt x="15743" y="17860"/>
                </a:lnTo>
                <a:lnTo>
                  <a:pt x="15738" y="17924"/>
                </a:lnTo>
                <a:lnTo>
                  <a:pt x="15731" y="17988"/>
                </a:lnTo>
                <a:lnTo>
                  <a:pt x="15722" y="18051"/>
                </a:lnTo>
                <a:lnTo>
                  <a:pt x="15712" y="18114"/>
                </a:lnTo>
                <a:lnTo>
                  <a:pt x="15701" y="18177"/>
                </a:lnTo>
                <a:lnTo>
                  <a:pt x="15686" y="18238"/>
                </a:lnTo>
                <a:lnTo>
                  <a:pt x="15671" y="18301"/>
                </a:lnTo>
                <a:lnTo>
                  <a:pt x="15653" y="18361"/>
                </a:lnTo>
                <a:lnTo>
                  <a:pt x="15633" y="18423"/>
                </a:lnTo>
                <a:lnTo>
                  <a:pt x="15612" y="18483"/>
                </a:lnTo>
                <a:lnTo>
                  <a:pt x="15588" y="18544"/>
                </a:lnTo>
                <a:lnTo>
                  <a:pt x="15563" y="18603"/>
                </a:lnTo>
                <a:lnTo>
                  <a:pt x="15536" y="18662"/>
                </a:lnTo>
                <a:lnTo>
                  <a:pt x="15507" y="18721"/>
                </a:lnTo>
                <a:lnTo>
                  <a:pt x="15477" y="18778"/>
                </a:lnTo>
                <a:lnTo>
                  <a:pt x="15444" y="18836"/>
                </a:lnTo>
                <a:lnTo>
                  <a:pt x="15409" y="18892"/>
                </a:lnTo>
                <a:lnTo>
                  <a:pt x="15374" y="18948"/>
                </a:lnTo>
                <a:lnTo>
                  <a:pt x="15335" y="19002"/>
                </a:lnTo>
                <a:lnTo>
                  <a:pt x="15326" y="19014"/>
                </a:lnTo>
                <a:lnTo>
                  <a:pt x="15317" y="19027"/>
                </a:lnTo>
                <a:lnTo>
                  <a:pt x="15309" y="19039"/>
                </a:lnTo>
                <a:lnTo>
                  <a:pt x="15299" y="19052"/>
                </a:lnTo>
                <a:lnTo>
                  <a:pt x="15646" y="19052"/>
                </a:lnTo>
                <a:lnTo>
                  <a:pt x="15682" y="18992"/>
                </a:lnTo>
                <a:lnTo>
                  <a:pt x="15717" y="18931"/>
                </a:lnTo>
                <a:lnTo>
                  <a:pt x="15750" y="18871"/>
                </a:lnTo>
                <a:lnTo>
                  <a:pt x="15782" y="18808"/>
                </a:lnTo>
                <a:lnTo>
                  <a:pt x="15812" y="18746"/>
                </a:lnTo>
                <a:lnTo>
                  <a:pt x="15839" y="18683"/>
                </a:lnTo>
                <a:lnTo>
                  <a:pt x="15865" y="18619"/>
                </a:lnTo>
                <a:lnTo>
                  <a:pt x="15889" y="18555"/>
                </a:lnTo>
                <a:lnTo>
                  <a:pt x="15911" y="18490"/>
                </a:lnTo>
                <a:lnTo>
                  <a:pt x="15931" y="18426"/>
                </a:lnTo>
                <a:lnTo>
                  <a:pt x="15950" y="18359"/>
                </a:lnTo>
                <a:lnTo>
                  <a:pt x="15967" y="18293"/>
                </a:lnTo>
                <a:lnTo>
                  <a:pt x="15982" y="18227"/>
                </a:lnTo>
                <a:lnTo>
                  <a:pt x="15994" y="18160"/>
                </a:lnTo>
                <a:lnTo>
                  <a:pt x="16004" y="18093"/>
                </a:lnTo>
                <a:lnTo>
                  <a:pt x="16014" y="18026"/>
                </a:lnTo>
                <a:lnTo>
                  <a:pt x="16021" y="17958"/>
                </a:lnTo>
                <a:lnTo>
                  <a:pt x="16026" y="17890"/>
                </a:lnTo>
                <a:lnTo>
                  <a:pt x="16029" y="17822"/>
                </a:lnTo>
                <a:lnTo>
                  <a:pt x="16031" y="17754"/>
                </a:lnTo>
                <a:lnTo>
                  <a:pt x="16031" y="17686"/>
                </a:lnTo>
                <a:lnTo>
                  <a:pt x="16028" y="17618"/>
                </a:lnTo>
                <a:lnTo>
                  <a:pt x="16023" y="17549"/>
                </a:lnTo>
                <a:lnTo>
                  <a:pt x="16017" y="17481"/>
                </a:lnTo>
                <a:lnTo>
                  <a:pt x="16008" y="17412"/>
                </a:lnTo>
                <a:lnTo>
                  <a:pt x="15998" y="17344"/>
                </a:lnTo>
                <a:lnTo>
                  <a:pt x="15987" y="17276"/>
                </a:lnTo>
                <a:lnTo>
                  <a:pt x="15972" y="17207"/>
                </a:lnTo>
                <a:lnTo>
                  <a:pt x="15956" y="17139"/>
                </a:lnTo>
                <a:lnTo>
                  <a:pt x="15938" y="17071"/>
                </a:lnTo>
                <a:lnTo>
                  <a:pt x="15917" y="17003"/>
                </a:lnTo>
                <a:lnTo>
                  <a:pt x="15896" y="16936"/>
                </a:lnTo>
                <a:close/>
                <a:moveTo>
                  <a:pt x="0" y="19052"/>
                </a:moveTo>
                <a:lnTo>
                  <a:pt x="4192" y="19052"/>
                </a:lnTo>
                <a:lnTo>
                  <a:pt x="4135" y="19007"/>
                </a:lnTo>
                <a:lnTo>
                  <a:pt x="4078" y="18961"/>
                </a:lnTo>
                <a:lnTo>
                  <a:pt x="4023" y="18915"/>
                </a:lnTo>
                <a:lnTo>
                  <a:pt x="3969" y="18867"/>
                </a:lnTo>
                <a:lnTo>
                  <a:pt x="3916" y="18818"/>
                </a:lnTo>
                <a:lnTo>
                  <a:pt x="3863" y="18768"/>
                </a:lnTo>
                <a:lnTo>
                  <a:pt x="3810" y="18717"/>
                </a:lnTo>
                <a:lnTo>
                  <a:pt x="3760" y="18666"/>
                </a:lnTo>
                <a:lnTo>
                  <a:pt x="3710" y="18613"/>
                </a:lnTo>
                <a:lnTo>
                  <a:pt x="3661" y="18560"/>
                </a:lnTo>
                <a:lnTo>
                  <a:pt x="3613" y="18506"/>
                </a:lnTo>
                <a:lnTo>
                  <a:pt x="3565" y="18451"/>
                </a:lnTo>
                <a:lnTo>
                  <a:pt x="3519" y="18394"/>
                </a:lnTo>
                <a:lnTo>
                  <a:pt x="3473" y="18338"/>
                </a:lnTo>
                <a:lnTo>
                  <a:pt x="3429" y="18280"/>
                </a:lnTo>
                <a:lnTo>
                  <a:pt x="3385" y="18221"/>
                </a:lnTo>
                <a:lnTo>
                  <a:pt x="3344" y="18161"/>
                </a:lnTo>
                <a:lnTo>
                  <a:pt x="3302" y="18101"/>
                </a:lnTo>
                <a:lnTo>
                  <a:pt x="3262" y="18039"/>
                </a:lnTo>
                <a:lnTo>
                  <a:pt x="3222" y="17978"/>
                </a:lnTo>
                <a:lnTo>
                  <a:pt x="3184" y="17915"/>
                </a:lnTo>
                <a:lnTo>
                  <a:pt x="3146" y="17851"/>
                </a:lnTo>
                <a:lnTo>
                  <a:pt x="3111" y="17787"/>
                </a:lnTo>
                <a:lnTo>
                  <a:pt x="3076" y="17721"/>
                </a:lnTo>
                <a:lnTo>
                  <a:pt x="3042" y="17656"/>
                </a:lnTo>
                <a:lnTo>
                  <a:pt x="3009" y="17589"/>
                </a:lnTo>
                <a:lnTo>
                  <a:pt x="2978" y="17521"/>
                </a:lnTo>
                <a:lnTo>
                  <a:pt x="2946" y="17453"/>
                </a:lnTo>
                <a:lnTo>
                  <a:pt x="2917" y="17384"/>
                </a:lnTo>
                <a:lnTo>
                  <a:pt x="2890" y="17314"/>
                </a:lnTo>
                <a:lnTo>
                  <a:pt x="2863" y="17244"/>
                </a:lnTo>
                <a:lnTo>
                  <a:pt x="2837" y="17173"/>
                </a:lnTo>
                <a:lnTo>
                  <a:pt x="620" y="10848"/>
                </a:lnTo>
                <a:lnTo>
                  <a:pt x="593" y="10765"/>
                </a:lnTo>
                <a:lnTo>
                  <a:pt x="567" y="10683"/>
                </a:lnTo>
                <a:lnTo>
                  <a:pt x="542" y="10600"/>
                </a:lnTo>
                <a:lnTo>
                  <a:pt x="521" y="10516"/>
                </a:lnTo>
                <a:lnTo>
                  <a:pt x="499" y="10433"/>
                </a:lnTo>
                <a:lnTo>
                  <a:pt x="481" y="10349"/>
                </a:lnTo>
                <a:lnTo>
                  <a:pt x="464" y="10264"/>
                </a:lnTo>
                <a:lnTo>
                  <a:pt x="449" y="10179"/>
                </a:lnTo>
                <a:lnTo>
                  <a:pt x="435" y="10095"/>
                </a:lnTo>
                <a:lnTo>
                  <a:pt x="424" y="10009"/>
                </a:lnTo>
                <a:lnTo>
                  <a:pt x="414" y="9923"/>
                </a:lnTo>
                <a:lnTo>
                  <a:pt x="405" y="9838"/>
                </a:lnTo>
                <a:lnTo>
                  <a:pt x="399" y="9752"/>
                </a:lnTo>
                <a:lnTo>
                  <a:pt x="395" y="9667"/>
                </a:lnTo>
                <a:lnTo>
                  <a:pt x="392" y="9580"/>
                </a:lnTo>
                <a:lnTo>
                  <a:pt x="391" y="9495"/>
                </a:lnTo>
                <a:lnTo>
                  <a:pt x="392" y="9409"/>
                </a:lnTo>
                <a:lnTo>
                  <a:pt x="395" y="9322"/>
                </a:lnTo>
                <a:lnTo>
                  <a:pt x="399" y="9237"/>
                </a:lnTo>
                <a:lnTo>
                  <a:pt x="405" y="9151"/>
                </a:lnTo>
                <a:lnTo>
                  <a:pt x="414" y="9066"/>
                </a:lnTo>
                <a:lnTo>
                  <a:pt x="424" y="8980"/>
                </a:lnTo>
                <a:lnTo>
                  <a:pt x="435" y="8895"/>
                </a:lnTo>
                <a:lnTo>
                  <a:pt x="448" y="8810"/>
                </a:lnTo>
                <a:lnTo>
                  <a:pt x="464" y="8725"/>
                </a:lnTo>
                <a:lnTo>
                  <a:pt x="481" y="8640"/>
                </a:lnTo>
                <a:lnTo>
                  <a:pt x="499" y="8556"/>
                </a:lnTo>
                <a:lnTo>
                  <a:pt x="520" y="8473"/>
                </a:lnTo>
                <a:lnTo>
                  <a:pt x="542" y="8389"/>
                </a:lnTo>
                <a:lnTo>
                  <a:pt x="567" y="8306"/>
                </a:lnTo>
                <a:lnTo>
                  <a:pt x="593" y="8224"/>
                </a:lnTo>
                <a:lnTo>
                  <a:pt x="620" y="8141"/>
                </a:lnTo>
                <a:lnTo>
                  <a:pt x="2837" y="1829"/>
                </a:lnTo>
                <a:lnTo>
                  <a:pt x="2862" y="1761"/>
                </a:lnTo>
                <a:lnTo>
                  <a:pt x="2887" y="1693"/>
                </a:lnTo>
                <a:lnTo>
                  <a:pt x="2915" y="1625"/>
                </a:lnTo>
                <a:lnTo>
                  <a:pt x="2942" y="1559"/>
                </a:lnTo>
                <a:lnTo>
                  <a:pt x="2971" y="1493"/>
                </a:lnTo>
                <a:lnTo>
                  <a:pt x="3002" y="1428"/>
                </a:lnTo>
                <a:lnTo>
                  <a:pt x="3033" y="1364"/>
                </a:lnTo>
                <a:lnTo>
                  <a:pt x="3066" y="1299"/>
                </a:lnTo>
                <a:lnTo>
                  <a:pt x="3098" y="1237"/>
                </a:lnTo>
                <a:lnTo>
                  <a:pt x="3134" y="1174"/>
                </a:lnTo>
                <a:lnTo>
                  <a:pt x="3169" y="1112"/>
                </a:lnTo>
                <a:lnTo>
                  <a:pt x="3205" y="1050"/>
                </a:lnTo>
                <a:lnTo>
                  <a:pt x="3243" y="991"/>
                </a:lnTo>
                <a:lnTo>
                  <a:pt x="3281" y="931"/>
                </a:lnTo>
                <a:lnTo>
                  <a:pt x="3321" y="873"/>
                </a:lnTo>
                <a:lnTo>
                  <a:pt x="3361" y="815"/>
                </a:lnTo>
                <a:lnTo>
                  <a:pt x="3403" y="757"/>
                </a:lnTo>
                <a:lnTo>
                  <a:pt x="3444" y="701"/>
                </a:lnTo>
                <a:lnTo>
                  <a:pt x="3487" y="645"/>
                </a:lnTo>
                <a:lnTo>
                  <a:pt x="3531" y="591"/>
                </a:lnTo>
                <a:lnTo>
                  <a:pt x="3576" y="537"/>
                </a:lnTo>
                <a:lnTo>
                  <a:pt x="3622" y="483"/>
                </a:lnTo>
                <a:lnTo>
                  <a:pt x="3670" y="431"/>
                </a:lnTo>
                <a:lnTo>
                  <a:pt x="3716" y="380"/>
                </a:lnTo>
                <a:lnTo>
                  <a:pt x="3765" y="330"/>
                </a:lnTo>
                <a:lnTo>
                  <a:pt x="3814" y="279"/>
                </a:lnTo>
                <a:lnTo>
                  <a:pt x="3863" y="230"/>
                </a:lnTo>
                <a:lnTo>
                  <a:pt x="3915" y="182"/>
                </a:lnTo>
                <a:lnTo>
                  <a:pt x="3966" y="136"/>
                </a:lnTo>
                <a:lnTo>
                  <a:pt x="4018" y="89"/>
                </a:lnTo>
                <a:lnTo>
                  <a:pt x="4071" y="44"/>
                </a:lnTo>
                <a:lnTo>
                  <a:pt x="4125" y="0"/>
                </a:lnTo>
                <a:lnTo>
                  <a:pt x="0" y="0"/>
                </a:lnTo>
                <a:lnTo>
                  <a:pt x="0" y="19052"/>
                </a:lnTo>
                <a:close/>
                <a:moveTo>
                  <a:pt x="6335" y="19052"/>
                </a:moveTo>
                <a:lnTo>
                  <a:pt x="6421" y="19052"/>
                </a:lnTo>
                <a:lnTo>
                  <a:pt x="3636" y="10881"/>
                </a:lnTo>
                <a:lnTo>
                  <a:pt x="3608" y="10796"/>
                </a:lnTo>
                <a:lnTo>
                  <a:pt x="3582" y="10712"/>
                </a:lnTo>
                <a:lnTo>
                  <a:pt x="3558" y="10627"/>
                </a:lnTo>
                <a:lnTo>
                  <a:pt x="3535" y="10541"/>
                </a:lnTo>
                <a:lnTo>
                  <a:pt x="3515" y="10456"/>
                </a:lnTo>
                <a:lnTo>
                  <a:pt x="3496" y="10369"/>
                </a:lnTo>
                <a:lnTo>
                  <a:pt x="3478" y="10282"/>
                </a:lnTo>
                <a:lnTo>
                  <a:pt x="3463" y="10195"/>
                </a:lnTo>
                <a:lnTo>
                  <a:pt x="3451" y="10107"/>
                </a:lnTo>
                <a:lnTo>
                  <a:pt x="3438" y="10020"/>
                </a:lnTo>
                <a:lnTo>
                  <a:pt x="3429" y="9932"/>
                </a:lnTo>
                <a:lnTo>
                  <a:pt x="3421" y="9844"/>
                </a:lnTo>
                <a:lnTo>
                  <a:pt x="3414" y="9756"/>
                </a:lnTo>
                <a:lnTo>
                  <a:pt x="3410" y="9668"/>
                </a:lnTo>
                <a:lnTo>
                  <a:pt x="3407" y="9580"/>
                </a:lnTo>
                <a:lnTo>
                  <a:pt x="3407" y="9492"/>
                </a:lnTo>
                <a:lnTo>
                  <a:pt x="3407" y="9403"/>
                </a:lnTo>
                <a:lnTo>
                  <a:pt x="3410" y="9315"/>
                </a:lnTo>
                <a:lnTo>
                  <a:pt x="3414" y="9227"/>
                </a:lnTo>
                <a:lnTo>
                  <a:pt x="3421" y="9139"/>
                </a:lnTo>
                <a:lnTo>
                  <a:pt x="3429" y="9051"/>
                </a:lnTo>
                <a:lnTo>
                  <a:pt x="3438" y="8962"/>
                </a:lnTo>
                <a:lnTo>
                  <a:pt x="3451" y="8876"/>
                </a:lnTo>
                <a:lnTo>
                  <a:pt x="3463" y="8788"/>
                </a:lnTo>
                <a:lnTo>
                  <a:pt x="3478" y="8701"/>
                </a:lnTo>
                <a:lnTo>
                  <a:pt x="3496" y="8614"/>
                </a:lnTo>
                <a:lnTo>
                  <a:pt x="3515" y="8527"/>
                </a:lnTo>
                <a:lnTo>
                  <a:pt x="3535" y="8442"/>
                </a:lnTo>
                <a:lnTo>
                  <a:pt x="3558" y="8356"/>
                </a:lnTo>
                <a:lnTo>
                  <a:pt x="3582" y="8271"/>
                </a:lnTo>
                <a:lnTo>
                  <a:pt x="3608" y="8186"/>
                </a:lnTo>
                <a:lnTo>
                  <a:pt x="3636" y="8102"/>
                </a:lnTo>
                <a:lnTo>
                  <a:pt x="6397" y="0"/>
                </a:lnTo>
                <a:lnTo>
                  <a:pt x="6311" y="0"/>
                </a:lnTo>
                <a:lnTo>
                  <a:pt x="3559" y="8076"/>
                </a:lnTo>
                <a:lnTo>
                  <a:pt x="3530" y="8161"/>
                </a:lnTo>
                <a:lnTo>
                  <a:pt x="3504" y="8248"/>
                </a:lnTo>
                <a:lnTo>
                  <a:pt x="3480" y="8335"/>
                </a:lnTo>
                <a:lnTo>
                  <a:pt x="3456" y="8422"/>
                </a:lnTo>
                <a:lnTo>
                  <a:pt x="3436" y="8510"/>
                </a:lnTo>
                <a:lnTo>
                  <a:pt x="3417" y="8598"/>
                </a:lnTo>
                <a:lnTo>
                  <a:pt x="3399" y="8686"/>
                </a:lnTo>
                <a:lnTo>
                  <a:pt x="3383" y="8775"/>
                </a:lnTo>
                <a:lnTo>
                  <a:pt x="3370" y="8863"/>
                </a:lnTo>
                <a:lnTo>
                  <a:pt x="3358" y="8952"/>
                </a:lnTo>
                <a:lnTo>
                  <a:pt x="3348" y="9043"/>
                </a:lnTo>
                <a:lnTo>
                  <a:pt x="3340" y="9132"/>
                </a:lnTo>
                <a:lnTo>
                  <a:pt x="3334" y="9222"/>
                </a:lnTo>
                <a:lnTo>
                  <a:pt x="3329" y="9312"/>
                </a:lnTo>
                <a:lnTo>
                  <a:pt x="3326" y="9401"/>
                </a:lnTo>
                <a:lnTo>
                  <a:pt x="3325" y="9491"/>
                </a:lnTo>
                <a:lnTo>
                  <a:pt x="3326" y="9581"/>
                </a:lnTo>
                <a:lnTo>
                  <a:pt x="3329" y="9671"/>
                </a:lnTo>
                <a:lnTo>
                  <a:pt x="3334" y="9761"/>
                </a:lnTo>
                <a:lnTo>
                  <a:pt x="3340" y="9851"/>
                </a:lnTo>
                <a:lnTo>
                  <a:pt x="3348" y="9940"/>
                </a:lnTo>
                <a:lnTo>
                  <a:pt x="3358" y="10030"/>
                </a:lnTo>
                <a:lnTo>
                  <a:pt x="3370" y="10118"/>
                </a:lnTo>
                <a:lnTo>
                  <a:pt x="3383" y="10208"/>
                </a:lnTo>
                <a:lnTo>
                  <a:pt x="3399" y="10297"/>
                </a:lnTo>
                <a:lnTo>
                  <a:pt x="3417" y="10385"/>
                </a:lnTo>
                <a:lnTo>
                  <a:pt x="3436" y="10473"/>
                </a:lnTo>
                <a:lnTo>
                  <a:pt x="3456" y="10561"/>
                </a:lnTo>
                <a:lnTo>
                  <a:pt x="3480" y="10648"/>
                </a:lnTo>
                <a:lnTo>
                  <a:pt x="3504" y="10735"/>
                </a:lnTo>
                <a:lnTo>
                  <a:pt x="3530" y="10822"/>
                </a:lnTo>
                <a:lnTo>
                  <a:pt x="3559" y="10907"/>
                </a:lnTo>
                <a:lnTo>
                  <a:pt x="6335" y="19052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3078" name="Freeform 6"/>
          <p:cNvSpPr>
            <a:spLocks/>
          </p:cNvSpPr>
          <p:nvPr userDrawn="1"/>
        </p:nvSpPr>
        <p:spPr bwMode="auto">
          <a:xfrm>
            <a:off x="3553106" y="1927234"/>
            <a:ext cx="1353076" cy="3076575"/>
          </a:xfrm>
          <a:custGeom>
            <a:avLst/>
            <a:gdLst/>
            <a:ahLst/>
            <a:cxnLst>
              <a:cxn ang="0">
                <a:pos x="2715" y="7731"/>
              </a:cxn>
              <a:cxn ang="0">
                <a:pos x="78" y="0"/>
              </a:cxn>
              <a:cxn ang="0">
                <a:pos x="0" y="23"/>
              </a:cxn>
              <a:cxn ang="0">
                <a:pos x="2636" y="7754"/>
              </a:cxn>
              <a:cxn ang="0">
                <a:pos x="2715" y="7731"/>
              </a:cxn>
            </a:cxnLst>
            <a:rect l="0" t="0" r="r" b="b"/>
            <a:pathLst>
              <a:path w="2715" h="7754">
                <a:moveTo>
                  <a:pt x="2715" y="7731"/>
                </a:moveTo>
                <a:lnTo>
                  <a:pt x="78" y="0"/>
                </a:lnTo>
                <a:lnTo>
                  <a:pt x="0" y="23"/>
                </a:lnTo>
                <a:lnTo>
                  <a:pt x="2636" y="7754"/>
                </a:lnTo>
                <a:lnTo>
                  <a:pt x="2715" y="7731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2660" y="1591740"/>
            <a:ext cx="1800665" cy="67097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com IMAGEM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3" name="Freeform 5"/>
          <p:cNvSpPr>
            <a:spLocks noEditPoints="1"/>
          </p:cNvSpPr>
          <p:nvPr userDrawn="1"/>
        </p:nvSpPr>
        <p:spPr bwMode="auto">
          <a:xfrm>
            <a:off x="6917054" y="1594"/>
            <a:ext cx="6525898" cy="7559675"/>
          </a:xfrm>
          <a:custGeom>
            <a:avLst/>
            <a:gdLst/>
            <a:ahLst/>
            <a:cxnLst>
              <a:cxn ang="0">
                <a:pos x="8045" y="0"/>
              </a:cxn>
              <a:cxn ang="0">
                <a:pos x="9811" y="5425"/>
              </a:cxn>
              <a:cxn ang="0">
                <a:pos x="1893" y="0"/>
              </a:cxn>
              <a:cxn ang="0">
                <a:pos x="302" y="4912"/>
              </a:cxn>
              <a:cxn ang="0">
                <a:pos x="250" y="5077"/>
              </a:cxn>
              <a:cxn ang="0">
                <a:pos x="205" y="5243"/>
              </a:cxn>
              <a:cxn ang="0">
                <a:pos x="165" y="5411"/>
              </a:cxn>
              <a:cxn ang="0">
                <a:pos x="135" y="5580"/>
              </a:cxn>
              <a:cxn ang="0">
                <a:pos x="110" y="5750"/>
              </a:cxn>
              <a:cxn ang="0">
                <a:pos x="92" y="5921"/>
              </a:cxn>
              <a:cxn ang="0">
                <a:pos x="82" y="6093"/>
              </a:cxn>
              <a:cxn ang="0">
                <a:pos x="78" y="6264"/>
              </a:cxn>
              <a:cxn ang="0">
                <a:pos x="82" y="6436"/>
              </a:cxn>
              <a:cxn ang="0">
                <a:pos x="92" y="6608"/>
              </a:cxn>
              <a:cxn ang="0">
                <a:pos x="110" y="6778"/>
              </a:cxn>
              <a:cxn ang="0">
                <a:pos x="135" y="6949"/>
              </a:cxn>
              <a:cxn ang="0">
                <a:pos x="165" y="7118"/>
              </a:cxn>
              <a:cxn ang="0">
                <a:pos x="205" y="7285"/>
              </a:cxn>
              <a:cxn ang="0">
                <a:pos x="250" y="7452"/>
              </a:cxn>
              <a:cxn ang="0">
                <a:pos x="302" y="7616"/>
              </a:cxn>
              <a:cxn ang="0">
                <a:pos x="2492" y="14286"/>
              </a:cxn>
              <a:cxn ang="0">
                <a:pos x="200" y="7558"/>
              </a:cxn>
              <a:cxn ang="0">
                <a:pos x="150" y="7390"/>
              </a:cxn>
              <a:cxn ang="0">
                <a:pos x="107" y="7219"/>
              </a:cxn>
              <a:cxn ang="0">
                <a:pos x="72" y="7047"/>
              </a:cxn>
              <a:cxn ang="0">
                <a:pos x="43" y="6874"/>
              </a:cxn>
              <a:cxn ang="0">
                <a:pos x="21" y="6701"/>
              </a:cxn>
              <a:cxn ang="0">
                <a:pos x="8" y="6527"/>
              </a:cxn>
              <a:cxn ang="0">
                <a:pos x="0" y="6352"/>
              </a:cxn>
              <a:cxn ang="0">
                <a:pos x="0" y="6177"/>
              </a:cxn>
              <a:cxn ang="0">
                <a:pos x="8" y="6002"/>
              </a:cxn>
              <a:cxn ang="0">
                <a:pos x="21" y="5828"/>
              </a:cxn>
              <a:cxn ang="0">
                <a:pos x="43" y="5653"/>
              </a:cxn>
              <a:cxn ang="0">
                <a:pos x="72" y="5480"/>
              </a:cxn>
              <a:cxn ang="0">
                <a:pos x="107" y="5308"/>
              </a:cxn>
              <a:cxn ang="0">
                <a:pos x="150" y="5139"/>
              </a:cxn>
              <a:cxn ang="0">
                <a:pos x="200" y="4970"/>
              </a:cxn>
              <a:cxn ang="0">
                <a:pos x="1893" y="0"/>
              </a:cxn>
            </a:cxnLst>
            <a:rect l="0" t="0" r="r" b="b"/>
            <a:pathLst>
              <a:path w="9811" h="14286">
                <a:moveTo>
                  <a:pt x="9811" y="5178"/>
                </a:moveTo>
                <a:lnTo>
                  <a:pt x="8045" y="0"/>
                </a:lnTo>
                <a:lnTo>
                  <a:pt x="7962" y="0"/>
                </a:lnTo>
                <a:lnTo>
                  <a:pt x="9811" y="5425"/>
                </a:lnTo>
                <a:lnTo>
                  <a:pt x="9811" y="5178"/>
                </a:lnTo>
                <a:close/>
                <a:moveTo>
                  <a:pt x="1893" y="0"/>
                </a:moveTo>
                <a:lnTo>
                  <a:pt x="1977" y="0"/>
                </a:lnTo>
                <a:lnTo>
                  <a:pt x="302" y="4912"/>
                </a:lnTo>
                <a:lnTo>
                  <a:pt x="275" y="4994"/>
                </a:lnTo>
                <a:lnTo>
                  <a:pt x="250" y="5077"/>
                </a:lnTo>
                <a:lnTo>
                  <a:pt x="226" y="5159"/>
                </a:lnTo>
                <a:lnTo>
                  <a:pt x="205" y="5243"/>
                </a:lnTo>
                <a:lnTo>
                  <a:pt x="184" y="5327"/>
                </a:lnTo>
                <a:lnTo>
                  <a:pt x="165" y="5411"/>
                </a:lnTo>
                <a:lnTo>
                  <a:pt x="149" y="5495"/>
                </a:lnTo>
                <a:lnTo>
                  <a:pt x="135" y="5580"/>
                </a:lnTo>
                <a:lnTo>
                  <a:pt x="121" y="5665"/>
                </a:lnTo>
                <a:lnTo>
                  <a:pt x="110" y="5750"/>
                </a:lnTo>
                <a:lnTo>
                  <a:pt x="101" y="5835"/>
                </a:lnTo>
                <a:lnTo>
                  <a:pt x="92" y="5921"/>
                </a:lnTo>
                <a:lnTo>
                  <a:pt x="87" y="6007"/>
                </a:lnTo>
                <a:lnTo>
                  <a:pt x="82" y="6093"/>
                </a:lnTo>
                <a:lnTo>
                  <a:pt x="80" y="6179"/>
                </a:lnTo>
                <a:lnTo>
                  <a:pt x="78" y="6264"/>
                </a:lnTo>
                <a:lnTo>
                  <a:pt x="80" y="6350"/>
                </a:lnTo>
                <a:lnTo>
                  <a:pt x="82" y="6436"/>
                </a:lnTo>
                <a:lnTo>
                  <a:pt x="87" y="6522"/>
                </a:lnTo>
                <a:lnTo>
                  <a:pt x="92" y="6608"/>
                </a:lnTo>
                <a:lnTo>
                  <a:pt x="101" y="6693"/>
                </a:lnTo>
                <a:lnTo>
                  <a:pt x="110" y="6778"/>
                </a:lnTo>
                <a:lnTo>
                  <a:pt x="121" y="6863"/>
                </a:lnTo>
                <a:lnTo>
                  <a:pt x="135" y="6949"/>
                </a:lnTo>
                <a:lnTo>
                  <a:pt x="149" y="7034"/>
                </a:lnTo>
                <a:lnTo>
                  <a:pt x="165" y="7118"/>
                </a:lnTo>
                <a:lnTo>
                  <a:pt x="184" y="7201"/>
                </a:lnTo>
                <a:lnTo>
                  <a:pt x="205" y="7285"/>
                </a:lnTo>
                <a:lnTo>
                  <a:pt x="226" y="7368"/>
                </a:lnTo>
                <a:lnTo>
                  <a:pt x="250" y="7452"/>
                </a:lnTo>
                <a:lnTo>
                  <a:pt x="275" y="7534"/>
                </a:lnTo>
                <a:lnTo>
                  <a:pt x="302" y="7616"/>
                </a:lnTo>
                <a:lnTo>
                  <a:pt x="2575" y="14286"/>
                </a:lnTo>
                <a:lnTo>
                  <a:pt x="2492" y="14286"/>
                </a:lnTo>
                <a:lnTo>
                  <a:pt x="227" y="7642"/>
                </a:lnTo>
                <a:lnTo>
                  <a:pt x="200" y="7558"/>
                </a:lnTo>
                <a:lnTo>
                  <a:pt x="173" y="7474"/>
                </a:lnTo>
                <a:lnTo>
                  <a:pt x="150" y="7390"/>
                </a:lnTo>
                <a:lnTo>
                  <a:pt x="128" y="7305"/>
                </a:lnTo>
                <a:lnTo>
                  <a:pt x="107" y="7219"/>
                </a:lnTo>
                <a:lnTo>
                  <a:pt x="88" y="7133"/>
                </a:lnTo>
                <a:lnTo>
                  <a:pt x="72" y="7047"/>
                </a:lnTo>
                <a:lnTo>
                  <a:pt x="57" y="6962"/>
                </a:lnTo>
                <a:lnTo>
                  <a:pt x="43" y="6874"/>
                </a:lnTo>
                <a:lnTo>
                  <a:pt x="32" y="6789"/>
                </a:lnTo>
                <a:lnTo>
                  <a:pt x="21" y="6701"/>
                </a:lnTo>
                <a:lnTo>
                  <a:pt x="14" y="6614"/>
                </a:lnTo>
                <a:lnTo>
                  <a:pt x="8" y="6527"/>
                </a:lnTo>
                <a:lnTo>
                  <a:pt x="4" y="6439"/>
                </a:lnTo>
                <a:lnTo>
                  <a:pt x="0" y="6352"/>
                </a:lnTo>
                <a:lnTo>
                  <a:pt x="0" y="6264"/>
                </a:lnTo>
                <a:lnTo>
                  <a:pt x="0" y="6177"/>
                </a:lnTo>
                <a:lnTo>
                  <a:pt x="4" y="6089"/>
                </a:lnTo>
                <a:lnTo>
                  <a:pt x="8" y="6002"/>
                </a:lnTo>
                <a:lnTo>
                  <a:pt x="14" y="5915"/>
                </a:lnTo>
                <a:lnTo>
                  <a:pt x="21" y="5828"/>
                </a:lnTo>
                <a:lnTo>
                  <a:pt x="32" y="5740"/>
                </a:lnTo>
                <a:lnTo>
                  <a:pt x="43" y="5653"/>
                </a:lnTo>
                <a:lnTo>
                  <a:pt x="57" y="5567"/>
                </a:lnTo>
                <a:lnTo>
                  <a:pt x="72" y="5480"/>
                </a:lnTo>
                <a:lnTo>
                  <a:pt x="88" y="5394"/>
                </a:lnTo>
                <a:lnTo>
                  <a:pt x="107" y="5308"/>
                </a:lnTo>
                <a:lnTo>
                  <a:pt x="128" y="5224"/>
                </a:lnTo>
                <a:lnTo>
                  <a:pt x="150" y="5139"/>
                </a:lnTo>
                <a:lnTo>
                  <a:pt x="173" y="5055"/>
                </a:lnTo>
                <a:lnTo>
                  <a:pt x="200" y="4970"/>
                </a:lnTo>
                <a:lnTo>
                  <a:pt x="227" y="4887"/>
                </a:lnTo>
                <a:lnTo>
                  <a:pt x="1893" y="0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054" name="Freeform 6"/>
          <p:cNvSpPr>
            <a:spLocks/>
          </p:cNvSpPr>
          <p:nvPr userDrawn="1"/>
        </p:nvSpPr>
        <p:spPr bwMode="auto">
          <a:xfrm>
            <a:off x="0" y="1594"/>
            <a:ext cx="1909873" cy="7559675"/>
          </a:xfrm>
          <a:custGeom>
            <a:avLst/>
            <a:gdLst/>
            <a:ahLst/>
            <a:cxnLst>
              <a:cxn ang="0">
                <a:pos x="2872" y="14286"/>
              </a:cxn>
              <a:cxn ang="0">
                <a:pos x="2859" y="14254"/>
              </a:cxn>
              <a:cxn ang="0">
                <a:pos x="2848" y="14224"/>
              </a:cxn>
              <a:cxn ang="0">
                <a:pos x="2837" y="14193"/>
              </a:cxn>
              <a:cxn ang="0">
                <a:pos x="2824" y="14160"/>
              </a:cxn>
              <a:cxn ang="0">
                <a:pos x="633" y="7894"/>
              </a:cxn>
              <a:cxn ang="0">
                <a:pos x="599" y="7794"/>
              </a:cxn>
              <a:cxn ang="0">
                <a:pos x="567" y="7694"/>
              </a:cxn>
              <a:cxn ang="0">
                <a:pos x="538" y="7593"/>
              </a:cxn>
              <a:cxn ang="0">
                <a:pos x="510" y="7492"/>
              </a:cxn>
              <a:cxn ang="0">
                <a:pos x="486" y="7391"/>
              </a:cxn>
              <a:cxn ang="0">
                <a:pos x="464" y="7290"/>
              </a:cxn>
              <a:cxn ang="0">
                <a:pos x="442" y="7188"/>
              </a:cxn>
              <a:cxn ang="0">
                <a:pos x="424" y="7085"/>
              </a:cxn>
              <a:cxn ang="0">
                <a:pos x="408" y="6983"/>
              </a:cxn>
              <a:cxn ang="0">
                <a:pos x="394" y="6879"/>
              </a:cxn>
              <a:cxn ang="0">
                <a:pos x="381" y="6776"/>
              </a:cxn>
              <a:cxn ang="0">
                <a:pos x="371" y="6674"/>
              </a:cxn>
              <a:cxn ang="0">
                <a:pos x="364" y="6570"/>
              </a:cxn>
              <a:cxn ang="0">
                <a:pos x="359" y="6467"/>
              </a:cxn>
              <a:cxn ang="0">
                <a:pos x="355" y="6363"/>
              </a:cxn>
              <a:cxn ang="0">
                <a:pos x="355" y="6259"/>
              </a:cxn>
              <a:cxn ang="0">
                <a:pos x="355" y="6156"/>
              </a:cxn>
              <a:cxn ang="0">
                <a:pos x="359" y="6052"/>
              </a:cxn>
              <a:cxn ang="0">
                <a:pos x="364" y="5949"/>
              </a:cxn>
              <a:cxn ang="0">
                <a:pos x="371" y="5845"/>
              </a:cxn>
              <a:cxn ang="0">
                <a:pos x="381" y="5743"/>
              </a:cxn>
              <a:cxn ang="0">
                <a:pos x="394" y="5639"/>
              </a:cxn>
              <a:cxn ang="0">
                <a:pos x="408" y="5537"/>
              </a:cxn>
              <a:cxn ang="0">
                <a:pos x="424" y="5434"/>
              </a:cxn>
              <a:cxn ang="0">
                <a:pos x="442" y="5331"/>
              </a:cxn>
              <a:cxn ang="0">
                <a:pos x="464" y="5230"/>
              </a:cxn>
              <a:cxn ang="0">
                <a:pos x="486" y="5128"/>
              </a:cxn>
              <a:cxn ang="0">
                <a:pos x="510" y="5027"/>
              </a:cxn>
              <a:cxn ang="0">
                <a:pos x="538" y="4926"/>
              </a:cxn>
              <a:cxn ang="0">
                <a:pos x="567" y="4825"/>
              </a:cxn>
              <a:cxn ang="0">
                <a:pos x="599" y="4725"/>
              </a:cxn>
              <a:cxn ang="0">
                <a:pos x="633" y="4625"/>
              </a:cxn>
              <a:cxn ang="0">
                <a:pos x="2257" y="0"/>
              </a:cxn>
              <a:cxn ang="0">
                <a:pos x="918" y="0"/>
              </a:cxn>
              <a:cxn ang="0">
                <a:pos x="0" y="2612"/>
              </a:cxn>
              <a:cxn ang="0">
                <a:pos x="0" y="9903"/>
              </a:cxn>
              <a:cxn ang="0">
                <a:pos x="1542" y="14286"/>
              </a:cxn>
              <a:cxn ang="0">
                <a:pos x="2872" y="14286"/>
              </a:cxn>
            </a:cxnLst>
            <a:rect l="0" t="0" r="r" b="b"/>
            <a:pathLst>
              <a:path w="2872" h="14286">
                <a:moveTo>
                  <a:pt x="2872" y="14286"/>
                </a:moveTo>
                <a:lnTo>
                  <a:pt x="2859" y="14254"/>
                </a:lnTo>
                <a:lnTo>
                  <a:pt x="2848" y="14224"/>
                </a:lnTo>
                <a:lnTo>
                  <a:pt x="2837" y="14193"/>
                </a:lnTo>
                <a:lnTo>
                  <a:pt x="2824" y="14160"/>
                </a:lnTo>
                <a:lnTo>
                  <a:pt x="633" y="7894"/>
                </a:lnTo>
                <a:lnTo>
                  <a:pt x="599" y="7794"/>
                </a:lnTo>
                <a:lnTo>
                  <a:pt x="567" y="7694"/>
                </a:lnTo>
                <a:lnTo>
                  <a:pt x="538" y="7593"/>
                </a:lnTo>
                <a:lnTo>
                  <a:pt x="510" y="7492"/>
                </a:lnTo>
                <a:lnTo>
                  <a:pt x="486" y="7391"/>
                </a:lnTo>
                <a:lnTo>
                  <a:pt x="464" y="7290"/>
                </a:lnTo>
                <a:lnTo>
                  <a:pt x="442" y="7188"/>
                </a:lnTo>
                <a:lnTo>
                  <a:pt x="424" y="7085"/>
                </a:lnTo>
                <a:lnTo>
                  <a:pt x="408" y="6983"/>
                </a:lnTo>
                <a:lnTo>
                  <a:pt x="394" y="6879"/>
                </a:lnTo>
                <a:lnTo>
                  <a:pt x="381" y="6776"/>
                </a:lnTo>
                <a:lnTo>
                  <a:pt x="371" y="6674"/>
                </a:lnTo>
                <a:lnTo>
                  <a:pt x="364" y="6570"/>
                </a:lnTo>
                <a:lnTo>
                  <a:pt x="359" y="6467"/>
                </a:lnTo>
                <a:lnTo>
                  <a:pt x="355" y="6363"/>
                </a:lnTo>
                <a:lnTo>
                  <a:pt x="355" y="6259"/>
                </a:lnTo>
                <a:lnTo>
                  <a:pt x="355" y="6156"/>
                </a:lnTo>
                <a:lnTo>
                  <a:pt x="359" y="6052"/>
                </a:lnTo>
                <a:lnTo>
                  <a:pt x="364" y="5949"/>
                </a:lnTo>
                <a:lnTo>
                  <a:pt x="371" y="5845"/>
                </a:lnTo>
                <a:lnTo>
                  <a:pt x="381" y="5743"/>
                </a:lnTo>
                <a:lnTo>
                  <a:pt x="394" y="5639"/>
                </a:lnTo>
                <a:lnTo>
                  <a:pt x="408" y="5537"/>
                </a:lnTo>
                <a:lnTo>
                  <a:pt x="424" y="5434"/>
                </a:lnTo>
                <a:lnTo>
                  <a:pt x="442" y="5331"/>
                </a:lnTo>
                <a:lnTo>
                  <a:pt x="464" y="5230"/>
                </a:lnTo>
                <a:lnTo>
                  <a:pt x="486" y="5128"/>
                </a:lnTo>
                <a:lnTo>
                  <a:pt x="510" y="5027"/>
                </a:lnTo>
                <a:lnTo>
                  <a:pt x="538" y="4926"/>
                </a:lnTo>
                <a:lnTo>
                  <a:pt x="567" y="4825"/>
                </a:lnTo>
                <a:lnTo>
                  <a:pt x="599" y="4725"/>
                </a:lnTo>
                <a:lnTo>
                  <a:pt x="633" y="4625"/>
                </a:lnTo>
                <a:lnTo>
                  <a:pt x="2257" y="0"/>
                </a:lnTo>
                <a:lnTo>
                  <a:pt x="918" y="0"/>
                </a:lnTo>
                <a:lnTo>
                  <a:pt x="0" y="2612"/>
                </a:lnTo>
                <a:lnTo>
                  <a:pt x="0" y="9903"/>
                </a:lnTo>
                <a:lnTo>
                  <a:pt x="1542" y="14286"/>
                </a:lnTo>
                <a:lnTo>
                  <a:pt x="2872" y="14286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055" name="Freeform 7"/>
          <p:cNvSpPr>
            <a:spLocks/>
          </p:cNvSpPr>
          <p:nvPr userDrawn="1"/>
        </p:nvSpPr>
        <p:spPr bwMode="auto">
          <a:xfrm>
            <a:off x="7156696" y="4237047"/>
            <a:ext cx="1143529" cy="2570163"/>
          </a:xfrm>
          <a:custGeom>
            <a:avLst/>
            <a:gdLst/>
            <a:ahLst/>
            <a:cxnLst>
              <a:cxn ang="0">
                <a:pos x="1719" y="4834"/>
              </a:cxn>
              <a:cxn ang="0">
                <a:pos x="70" y="0"/>
              </a:cxn>
              <a:cxn ang="0">
                <a:pos x="0" y="22"/>
              </a:cxn>
              <a:cxn ang="0">
                <a:pos x="1648" y="4857"/>
              </a:cxn>
              <a:cxn ang="0">
                <a:pos x="1719" y="4834"/>
              </a:cxn>
            </a:cxnLst>
            <a:rect l="0" t="0" r="r" b="b"/>
            <a:pathLst>
              <a:path w="1719" h="4857">
                <a:moveTo>
                  <a:pt x="1719" y="4834"/>
                </a:moveTo>
                <a:lnTo>
                  <a:pt x="70" y="0"/>
                </a:lnTo>
                <a:lnTo>
                  <a:pt x="0" y="22"/>
                </a:lnTo>
                <a:lnTo>
                  <a:pt x="1648" y="4857"/>
                </a:lnTo>
                <a:lnTo>
                  <a:pt x="1719" y="4834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2" name="Espaço Reservado para Imagem 21"/>
          <p:cNvSpPr>
            <a:spLocks noGrp="1"/>
          </p:cNvSpPr>
          <p:nvPr>
            <p:ph type="pic" sz="quarter" idx="10"/>
          </p:nvPr>
        </p:nvSpPr>
        <p:spPr>
          <a:xfrm>
            <a:off x="475381" y="0"/>
            <a:ext cx="7416449" cy="7561264"/>
          </a:xfrm>
          <a:custGeom>
            <a:avLst/>
            <a:gdLst>
              <a:gd name="connsiteX0" fmla="*/ 0 w 4319959"/>
              <a:gd name="connsiteY0" fmla="*/ 0 h 7561263"/>
              <a:gd name="connsiteX1" fmla="*/ 4319959 w 4319959"/>
              <a:gd name="connsiteY1" fmla="*/ 0 h 7561263"/>
              <a:gd name="connsiteX2" fmla="*/ 4319959 w 4319959"/>
              <a:gd name="connsiteY2" fmla="*/ 7561263 h 7561263"/>
              <a:gd name="connsiteX3" fmla="*/ 0 w 4319959"/>
              <a:gd name="connsiteY3" fmla="*/ 7561263 h 7561263"/>
              <a:gd name="connsiteX4" fmla="*/ 0 w 4319959"/>
              <a:gd name="connsiteY4" fmla="*/ 0 h 7561263"/>
              <a:gd name="connsiteX0" fmla="*/ 0 w 4607992"/>
              <a:gd name="connsiteY0" fmla="*/ 0 h 7561264"/>
              <a:gd name="connsiteX1" fmla="*/ 4319959 w 4607992"/>
              <a:gd name="connsiteY1" fmla="*/ 0 h 7561264"/>
              <a:gd name="connsiteX2" fmla="*/ 4607992 w 4607992"/>
              <a:gd name="connsiteY2" fmla="*/ 7561264 h 7561264"/>
              <a:gd name="connsiteX3" fmla="*/ 0 w 4607992"/>
              <a:gd name="connsiteY3" fmla="*/ 7561263 h 7561264"/>
              <a:gd name="connsiteX4" fmla="*/ 0 w 4607992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216545 w 4824537"/>
              <a:gd name="connsiteY3" fmla="*/ 7561263 h 7561264"/>
              <a:gd name="connsiteX4" fmla="*/ 0 w 4824537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360041 w 4824537"/>
              <a:gd name="connsiteY3" fmla="*/ 7561263 h 7561264"/>
              <a:gd name="connsiteX4" fmla="*/ 0 w 4824537"/>
              <a:gd name="connsiteY4" fmla="*/ 0 h 7561264"/>
              <a:gd name="connsiteX0" fmla="*/ 792087 w 5616624"/>
              <a:gd name="connsiteY0" fmla="*/ 0 h 7561264"/>
              <a:gd name="connsiteX1" fmla="*/ 5328591 w 5616624"/>
              <a:gd name="connsiteY1" fmla="*/ 0 h 7561264"/>
              <a:gd name="connsiteX2" fmla="*/ 5616624 w 5616624"/>
              <a:gd name="connsiteY2" fmla="*/ 7561264 h 7561264"/>
              <a:gd name="connsiteX3" fmla="*/ 1152128 w 5616624"/>
              <a:gd name="connsiteY3" fmla="*/ 7561263 h 7561264"/>
              <a:gd name="connsiteX4" fmla="*/ 0 w 5616624"/>
              <a:gd name="connsiteY4" fmla="*/ 4212679 h 7561264"/>
              <a:gd name="connsiteX5" fmla="*/ 792087 w 5616624"/>
              <a:gd name="connsiteY5" fmla="*/ 0 h 7561264"/>
              <a:gd name="connsiteX0" fmla="*/ 864095 w 5688632"/>
              <a:gd name="connsiteY0" fmla="*/ 0 h 7561264"/>
              <a:gd name="connsiteX1" fmla="*/ 5400599 w 5688632"/>
              <a:gd name="connsiteY1" fmla="*/ 0 h 7561264"/>
              <a:gd name="connsiteX2" fmla="*/ 5688632 w 5688632"/>
              <a:gd name="connsiteY2" fmla="*/ 7561264 h 7561264"/>
              <a:gd name="connsiteX3" fmla="*/ 1224136 w 5688632"/>
              <a:gd name="connsiteY3" fmla="*/ 7561263 h 7561264"/>
              <a:gd name="connsiteX4" fmla="*/ 72008 w 5688632"/>
              <a:gd name="connsiteY4" fmla="*/ 4212679 h 7561264"/>
              <a:gd name="connsiteX5" fmla="*/ 0 w 5688632"/>
              <a:gd name="connsiteY5" fmla="*/ 2484487 h 7561264"/>
              <a:gd name="connsiteX6" fmla="*/ 864095 w 5688632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4356695 h 7561264"/>
              <a:gd name="connsiteX3" fmla="*/ 5888357 w 5888357"/>
              <a:gd name="connsiteY3" fmla="*/ 7561264 h 7561264"/>
              <a:gd name="connsiteX4" fmla="*/ 1423861 w 5888357"/>
              <a:gd name="connsiteY4" fmla="*/ 7561263 h 7561264"/>
              <a:gd name="connsiteX5" fmla="*/ 271733 w 5888357"/>
              <a:gd name="connsiteY5" fmla="*/ 4212679 h 7561264"/>
              <a:gd name="connsiteX6" fmla="*/ 199725 w 5888357"/>
              <a:gd name="connsiteY6" fmla="*/ 2484487 h 7561264"/>
              <a:gd name="connsiteX7" fmla="*/ 1063820 w 5888357"/>
              <a:gd name="connsiteY7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664222 w 5888357"/>
              <a:gd name="connsiteY3" fmla="*/ 4356695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13583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135830 w 5888357"/>
              <a:gd name="connsiteY8" fmla="*/ 0 h 7561264"/>
              <a:gd name="connsiteX0" fmla="*/ 1219010 w 5971537"/>
              <a:gd name="connsiteY0" fmla="*/ 0 h 7561264"/>
              <a:gd name="connsiteX1" fmla="*/ 5683504 w 5971537"/>
              <a:gd name="connsiteY1" fmla="*/ 0 h 7561264"/>
              <a:gd name="connsiteX2" fmla="*/ 4747402 w 5971537"/>
              <a:gd name="connsiteY2" fmla="*/ 2412479 h 7561264"/>
              <a:gd name="connsiteX3" fmla="*/ 4819410 w 5971537"/>
              <a:gd name="connsiteY3" fmla="*/ 4428703 h 7561264"/>
              <a:gd name="connsiteX4" fmla="*/ 5971537 w 5971537"/>
              <a:gd name="connsiteY4" fmla="*/ 7561264 h 7561264"/>
              <a:gd name="connsiteX5" fmla="*/ 1507041 w 5971537"/>
              <a:gd name="connsiteY5" fmla="*/ 7561263 h 7561264"/>
              <a:gd name="connsiteX6" fmla="*/ 354913 w 5971537"/>
              <a:gd name="connsiteY6" fmla="*/ 4212679 h 7561264"/>
              <a:gd name="connsiteX7" fmla="*/ 282905 w 5971537"/>
              <a:gd name="connsiteY7" fmla="*/ 2484487 h 7561264"/>
              <a:gd name="connsiteX8" fmla="*/ 1219010 w 5971537"/>
              <a:gd name="connsiteY8" fmla="*/ 0 h 7561264"/>
              <a:gd name="connsiteX0" fmla="*/ 1147001 w 5899528"/>
              <a:gd name="connsiteY0" fmla="*/ 0 h 7561264"/>
              <a:gd name="connsiteX1" fmla="*/ 5611495 w 5899528"/>
              <a:gd name="connsiteY1" fmla="*/ 0 h 7561264"/>
              <a:gd name="connsiteX2" fmla="*/ 4675393 w 5899528"/>
              <a:gd name="connsiteY2" fmla="*/ 2412479 h 7561264"/>
              <a:gd name="connsiteX3" fmla="*/ 4747401 w 5899528"/>
              <a:gd name="connsiteY3" fmla="*/ 4428703 h 7561264"/>
              <a:gd name="connsiteX4" fmla="*/ 5899528 w 5899528"/>
              <a:gd name="connsiteY4" fmla="*/ 7561264 h 7561264"/>
              <a:gd name="connsiteX5" fmla="*/ 1435032 w 5899528"/>
              <a:gd name="connsiteY5" fmla="*/ 7561263 h 7561264"/>
              <a:gd name="connsiteX6" fmla="*/ 282904 w 5899528"/>
              <a:gd name="connsiteY6" fmla="*/ 4212679 h 7561264"/>
              <a:gd name="connsiteX7" fmla="*/ 282905 w 5899528"/>
              <a:gd name="connsiteY7" fmla="*/ 2340471 h 7561264"/>
              <a:gd name="connsiteX8" fmla="*/ 1147001 w 5899528"/>
              <a:gd name="connsiteY8" fmla="*/ 0 h 7561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99528" h="7561264">
                <a:moveTo>
                  <a:pt x="1147001" y="0"/>
                </a:moveTo>
                <a:lnTo>
                  <a:pt x="5611495" y="0"/>
                </a:lnTo>
                <a:lnTo>
                  <a:pt x="4675393" y="2412479"/>
                </a:lnTo>
                <a:cubicBezTo>
                  <a:pt x="4433153" y="3103284"/>
                  <a:pt x="4415445" y="3647551"/>
                  <a:pt x="4747401" y="4428703"/>
                </a:cubicBezTo>
                <a:lnTo>
                  <a:pt x="5899528" y="7561264"/>
                </a:lnTo>
                <a:lnTo>
                  <a:pt x="1435032" y="7561263"/>
                </a:lnTo>
                <a:lnTo>
                  <a:pt x="282904" y="4212679"/>
                </a:lnTo>
                <a:cubicBezTo>
                  <a:pt x="64669" y="3571784"/>
                  <a:pt x="0" y="3092995"/>
                  <a:pt x="282905" y="2340471"/>
                </a:cubicBezTo>
                <a:lnTo>
                  <a:pt x="1147001" y="0"/>
                </a:lnTo>
                <a:close/>
              </a:path>
            </a:pathLst>
          </a:custGeom>
        </p:spPr>
        <p:txBody>
          <a:bodyPr anchor="ctr"/>
          <a:lstStyle>
            <a:lvl1pPr algn="ctr">
              <a:defRPr>
                <a:solidFill>
                  <a:srgbClr val="253746"/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26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299689" y="1404376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771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27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299689" y="4212688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514" b="0">
                <a:solidFill>
                  <a:srgbClr val="253746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ma Parte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3" name="Freeform 7"/>
          <p:cNvSpPr>
            <a:spLocks/>
          </p:cNvSpPr>
          <p:nvPr/>
        </p:nvSpPr>
        <p:spPr bwMode="auto">
          <a:xfrm>
            <a:off x="12605478" y="6948983"/>
            <a:ext cx="837472" cy="612280"/>
          </a:xfrm>
          <a:custGeom>
            <a:avLst/>
            <a:gdLst/>
            <a:ahLst/>
            <a:cxnLst>
              <a:cxn ang="0">
                <a:pos x="1475" y="0"/>
              </a:cxn>
              <a:cxn ang="0">
                <a:pos x="742" y="258"/>
              </a:cxn>
              <a:cxn ang="0">
                <a:pos x="701" y="273"/>
              </a:cxn>
              <a:cxn ang="0">
                <a:pos x="660" y="290"/>
              </a:cxn>
              <a:cxn ang="0">
                <a:pos x="620" y="309"/>
              </a:cxn>
              <a:cxn ang="0">
                <a:pos x="582" y="329"/>
              </a:cxn>
              <a:cxn ang="0">
                <a:pos x="544" y="350"/>
              </a:cxn>
              <a:cxn ang="0">
                <a:pos x="508" y="373"/>
              </a:cxn>
              <a:cxn ang="0">
                <a:pos x="472" y="397"/>
              </a:cxn>
              <a:cxn ang="0">
                <a:pos x="437" y="422"/>
              </a:cxn>
              <a:cxn ang="0">
                <a:pos x="404" y="449"/>
              </a:cxn>
              <a:cxn ang="0">
                <a:pos x="371" y="477"/>
              </a:cxn>
              <a:cxn ang="0">
                <a:pos x="341" y="506"/>
              </a:cxn>
              <a:cxn ang="0">
                <a:pos x="311" y="536"/>
              </a:cxn>
              <a:cxn ang="0">
                <a:pos x="281" y="566"/>
              </a:cxn>
              <a:cxn ang="0">
                <a:pos x="254" y="599"/>
              </a:cxn>
              <a:cxn ang="0">
                <a:pos x="228" y="632"/>
              </a:cxn>
              <a:cxn ang="0">
                <a:pos x="203" y="666"/>
              </a:cxn>
              <a:cxn ang="0">
                <a:pos x="179" y="701"/>
              </a:cxn>
              <a:cxn ang="0">
                <a:pos x="158" y="738"/>
              </a:cxn>
              <a:cxn ang="0">
                <a:pos x="136" y="775"/>
              </a:cxn>
              <a:cxn ang="0">
                <a:pos x="117" y="813"/>
              </a:cxn>
              <a:cxn ang="0">
                <a:pos x="98" y="850"/>
              </a:cxn>
              <a:cxn ang="0">
                <a:pos x="82" y="890"/>
              </a:cxn>
              <a:cxn ang="0">
                <a:pos x="67" y="930"/>
              </a:cxn>
              <a:cxn ang="0">
                <a:pos x="53" y="970"/>
              </a:cxn>
              <a:cxn ang="0">
                <a:pos x="41" y="1011"/>
              </a:cxn>
              <a:cxn ang="0">
                <a:pos x="30" y="1053"/>
              </a:cxn>
              <a:cxn ang="0">
                <a:pos x="21" y="1096"/>
              </a:cxn>
              <a:cxn ang="0">
                <a:pos x="14" y="1138"/>
              </a:cxn>
              <a:cxn ang="0">
                <a:pos x="7" y="1181"/>
              </a:cxn>
              <a:cxn ang="0">
                <a:pos x="4" y="1224"/>
              </a:cxn>
              <a:cxn ang="0">
                <a:pos x="1" y="1269"/>
              </a:cxn>
              <a:cxn ang="0">
                <a:pos x="0" y="1313"/>
              </a:cxn>
              <a:cxn ang="0">
                <a:pos x="0" y="1578"/>
              </a:cxn>
              <a:cxn ang="0">
                <a:pos x="1475" y="1578"/>
              </a:cxn>
              <a:cxn ang="0">
                <a:pos x="1475" y="0"/>
              </a:cxn>
            </a:cxnLst>
            <a:rect l="0" t="0" r="r" b="b"/>
            <a:pathLst>
              <a:path w="1475" h="1578">
                <a:moveTo>
                  <a:pt x="1475" y="0"/>
                </a:moveTo>
                <a:lnTo>
                  <a:pt x="742" y="258"/>
                </a:lnTo>
                <a:lnTo>
                  <a:pt x="701" y="273"/>
                </a:lnTo>
                <a:lnTo>
                  <a:pt x="660" y="290"/>
                </a:lnTo>
                <a:lnTo>
                  <a:pt x="620" y="309"/>
                </a:lnTo>
                <a:lnTo>
                  <a:pt x="582" y="329"/>
                </a:lnTo>
                <a:lnTo>
                  <a:pt x="544" y="350"/>
                </a:lnTo>
                <a:lnTo>
                  <a:pt x="508" y="373"/>
                </a:lnTo>
                <a:lnTo>
                  <a:pt x="472" y="397"/>
                </a:lnTo>
                <a:lnTo>
                  <a:pt x="437" y="422"/>
                </a:lnTo>
                <a:lnTo>
                  <a:pt x="404" y="449"/>
                </a:lnTo>
                <a:lnTo>
                  <a:pt x="371" y="477"/>
                </a:lnTo>
                <a:lnTo>
                  <a:pt x="341" y="506"/>
                </a:lnTo>
                <a:lnTo>
                  <a:pt x="311" y="536"/>
                </a:lnTo>
                <a:lnTo>
                  <a:pt x="281" y="566"/>
                </a:lnTo>
                <a:lnTo>
                  <a:pt x="254" y="599"/>
                </a:lnTo>
                <a:lnTo>
                  <a:pt x="228" y="632"/>
                </a:lnTo>
                <a:lnTo>
                  <a:pt x="203" y="666"/>
                </a:lnTo>
                <a:lnTo>
                  <a:pt x="179" y="701"/>
                </a:lnTo>
                <a:lnTo>
                  <a:pt x="158" y="738"/>
                </a:lnTo>
                <a:lnTo>
                  <a:pt x="136" y="775"/>
                </a:lnTo>
                <a:lnTo>
                  <a:pt x="117" y="813"/>
                </a:lnTo>
                <a:lnTo>
                  <a:pt x="98" y="850"/>
                </a:lnTo>
                <a:lnTo>
                  <a:pt x="82" y="890"/>
                </a:lnTo>
                <a:lnTo>
                  <a:pt x="67" y="930"/>
                </a:lnTo>
                <a:lnTo>
                  <a:pt x="53" y="970"/>
                </a:lnTo>
                <a:lnTo>
                  <a:pt x="41" y="1011"/>
                </a:lnTo>
                <a:lnTo>
                  <a:pt x="30" y="1053"/>
                </a:lnTo>
                <a:lnTo>
                  <a:pt x="21" y="1096"/>
                </a:lnTo>
                <a:lnTo>
                  <a:pt x="14" y="1138"/>
                </a:lnTo>
                <a:lnTo>
                  <a:pt x="7" y="1181"/>
                </a:lnTo>
                <a:lnTo>
                  <a:pt x="4" y="1224"/>
                </a:lnTo>
                <a:lnTo>
                  <a:pt x="1" y="1269"/>
                </a:lnTo>
                <a:lnTo>
                  <a:pt x="0" y="1313"/>
                </a:lnTo>
                <a:lnTo>
                  <a:pt x="0" y="1578"/>
                </a:lnTo>
                <a:lnTo>
                  <a:pt x="1475" y="1578"/>
                </a:lnTo>
                <a:lnTo>
                  <a:pt x="1475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1"/>
          </p:nvPr>
        </p:nvSpPr>
        <p:spPr>
          <a:xfrm>
            <a:off x="2184972" y="1331922"/>
            <a:ext cx="9423944" cy="5761037"/>
          </a:xfrm>
          <a:prstGeom prst="rect">
            <a:avLst/>
          </a:prstGeom>
        </p:spPr>
        <p:txBody>
          <a:bodyPr/>
          <a:lstStyle>
            <a:lvl1pPr>
              <a:buClr>
                <a:srgbClr val="32B9CD"/>
              </a:buClr>
              <a:defRPr>
                <a:latin typeface="Exo 2" pitchFamily="50" charset="0"/>
              </a:defRPr>
            </a:lvl1pPr>
            <a:lvl2pPr>
              <a:buClr>
                <a:srgbClr val="32B9CD"/>
              </a:buClr>
              <a:defRPr>
                <a:latin typeface="Exo 2" pitchFamily="50" charset="0"/>
              </a:defRPr>
            </a:lvl2pPr>
            <a:lvl3pPr>
              <a:buClr>
                <a:srgbClr val="32B9CD"/>
              </a:buClr>
              <a:defRPr>
                <a:latin typeface="Exo 2" pitchFamily="50" charset="0"/>
              </a:defRPr>
            </a:lvl3pPr>
            <a:lvl4pPr>
              <a:buClr>
                <a:srgbClr val="32B9CD"/>
              </a:buClr>
              <a:defRPr>
                <a:latin typeface="Exo 2" pitchFamily="50" charset="0"/>
              </a:defRPr>
            </a:lvl4pPr>
            <a:lvl5pPr>
              <a:buClr>
                <a:srgbClr val="32B9CD"/>
              </a:buClr>
              <a:defRPr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s estilos d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2605478" y="7237015"/>
            <a:ext cx="628646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1257" b="1">
                <a:solidFill>
                  <a:schemeClr val="bg1"/>
                </a:solidFill>
                <a:latin typeface="Exo 2" pitchFamily="50" charset="0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nº›</a:t>
            </a:fld>
            <a:endParaRPr lang="pt-BR" sz="880" dirty="0"/>
          </a:p>
        </p:txBody>
      </p:sp>
      <p:sp>
        <p:nvSpPr>
          <p:cNvPr id="9" name="Freeform 6"/>
          <p:cNvSpPr>
            <a:spLocks/>
          </p:cNvSpPr>
          <p:nvPr/>
        </p:nvSpPr>
        <p:spPr bwMode="auto">
          <a:xfrm>
            <a:off x="6" y="9"/>
            <a:ext cx="1832413" cy="1332359"/>
          </a:xfrm>
          <a:custGeom>
            <a:avLst/>
            <a:gdLst/>
            <a:ahLst/>
            <a:cxnLst>
              <a:cxn ang="0">
                <a:pos x="3091" y="1686"/>
              </a:cxn>
              <a:cxn ang="0">
                <a:pos x="3117" y="1687"/>
              </a:cxn>
              <a:cxn ang="0">
                <a:pos x="3156" y="1689"/>
              </a:cxn>
              <a:cxn ang="0">
                <a:pos x="3169" y="1687"/>
              </a:cxn>
              <a:cxn ang="0">
                <a:pos x="3252" y="1655"/>
              </a:cxn>
              <a:cxn ang="0">
                <a:pos x="3332" y="1617"/>
              </a:cxn>
              <a:cxn ang="0">
                <a:pos x="3408" y="1573"/>
              </a:cxn>
              <a:cxn ang="0">
                <a:pos x="3478" y="1523"/>
              </a:cxn>
              <a:cxn ang="0">
                <a:pos x="3545" y="1469"/>
              </a:cxn>
              <a:cxn ang="0">
                <a:pos x="3608" y="1411"/>
              </a:cxn>
              <a:cxn ang="0">
                <a:pos x="3665" y="1346"/>
              </a:cxn>
              <a:cxn ang="0">
                <a:pos x="3718" y="1279"/>
              </a:cxn>
              <a:cxn ang="0">
                <a:pos x="3765" y="1207"/>
              </a:cxn>
              <a:cxn ang="0">
                <a:pos x="3807" y="1133"/>
              </a:cxn>
              <a:cxn ang="0">
                <a:pos x="3842" y="1055"/>
              </a:cxn>
              <a:cxn ang="0">
                <a:pos x="3872" y="974"/>
              </a:cxn>
              <a:cxn ang="0">
                <a:pos x="3896" y="890"/>
              </a:cxn>
              <a:cxn ang="0">
                <a:pos x="3913" y="805"/>
              </a:cxn>
              <a:cxn ang="0">
                <a:pos x="3923" y="717"/>
              </a:cxn>
              <a:cxn ang="0">
                <a:pos x="3927" y="628"/>
              </a:cxn>
              <a:cxn ang="0">
                <a:pos x="3855" y="0"/>
              </a:cxn>
              <a:cxn ang="0">
                <a:pos x="3088" y="0"/>
              </a:cxn>
              <a:cxn ang="0">
                <a:pos x="3855" y="278"/>
              </a:cxn>
              <a:cxn ang="0">
                <a:pos x="3853" y="671"/>
              </a:cxn>
              <a:cxn ang="0">
                <a:pos x="3847" y="753"/>
              </a:cxn>
              <a:cxn ang="0">
                <a:pos x="3834" y="834"/>
              </a:cxn>
              <a:cxn ang="0">
                <a:pos x="3814" y="913"/>
              </a:cxn>
              <a:cxn ang="0">
                <a:pos x="3790" y="990"/>
              </a:cxn>
              <a:cxn ang="0">
                <a:pos x="3759" y="1063"/>
              </a:cxn>
              <a:cxn ang="0">
                <a:pos x="3723" y="1135"/>
              </a:cxn>
              <a:cxn ang="0">
                <a:pos x="3682" y="1204"/>
              </a:cxn>
              <a:cxn ang="0">
                <a:pos x="3635" y="1269"/>
              </a:cxn>
              <a:cxn ang="0">
                <a:pos x="3583" y="1330"/>
              </a:cxn>
              <a:cxn ang="0">
                <a:pos x="3528" y="1388"/>
              </a:cxn>
              <a:cxn ang="0">
                <a:pos x="3467" y="1441"/>
              </a:cxn>
              <a:cxn ang="0">
                <a:pos x="3403" y="1489"/>
              </a:cxn>
              <a:cxn ang="0">
                <a:pos x="3333" y="1533"/>
              </a:cxn>
              <a:cxn ang="0">
                <a:pos x="3261" y="1571"/>
              </a:cxn>
              <a:cxn ang="0">
                <a:pos x="3185" y="1604"/>
              </a:cxn>
              <a:cxn ang="0">
                <a:pos x="3140" y="1621"/>
              </a:cxn>
              <a:cxn ang="0">
                <a:pos x="3121" y="1636"/>
              </a:cxn>
              <a:cxn ang="0">
                <a:pos x="3091" y="1661"/>
              </a:cxn>
              <a:cxn ang="0">
                <a:pos x="0" y="2718"/>
              </a:cxn>
            </a:cxnLst>
            <a:rect l="0" t="0" r="r" b="b"/>
            <a:pathLst>
              <a:path w="3927" h="2740">
                <a:moveTo>
                  <a:pt x="0" y="2740"/>
                </a:moveTo>
                <a:lnTo>
                  <a:pt x="3091" y="1686"/>
                </a:lnTo>
                <a:lnTo>
                  <a:pt x="3098" y="1686"/>
                </a:lnTo>
                <a:lnTo>
                  <a:pt x="3117" y="1687"/>
                </a:lnTo>
                <a:lnTo>
                  <a:pt x="3139" y="1689"/>
                </a:lnTo>
                <a:lnTo>
                  <a:pt x="3156" y="1689"/>
                </a:lnTo>
                <a:lnTo>
                  <a:pt x="3163" y="1689"/>
                </a:lnTo>
                <a:lnTo>
                  <a:pt x="3169" y="1687"/>
                </a:lnTo>
                <a:lnTo>
                  <a:pt x="3211" y="1672"/>
                </a:lnTo>
                <a:lnTo>
                  <a:pt x="3252" y="1655"/>
                </a:lnTo>
                <a:lnTo>
                  <a:pt x="3293" y="1637"/>
                </a:lnTo>
                <a:lnTo>
                  <a:pt x="3332" y="1617"/>
                </a:lnTo>
                <a:lnTo>
                  <a:pt x="3370" y="1595"/>
                </a:lnTo>
                <a:lnTo>
                  <a:pt x="3408" y="1573"/>
                </a:lnTo>
                <a:lnTo>
                  <a:pt x="3443" y="1549"/>
                </a:lnTo>
                <a:lnTo>
                  <a:pt x="3478" y="1523"/>
                </a:lnTo>
                <a:lnTo>
                  <a:pt x="3512" y="1497"/>
                </a:lnTo>
                <a:lnTo>
                  <a:pt x="3545" y="1469"/>
                </a:lnTo>
                <a:lnTo>
                  <a:pt x="3577" y="1440"/>
                </a:lnTo>
                <a:lnTo>
                  <a:pt x="3608" y="1411"/>
                </a:lnTo>
                <a:lnTo>
                  <a:pt x="3637" y="1379"/>
                </a:lnTo>
                <a:lnTo>
                  <a:pt x="3665" y="1346"/>
                </a:lnTo>
                <a:lnTo>
                  <a:pt x="3692" y="1314"/>
                </a:lnTo>
                <a:lnTo>
                  <a:pt x="3718" y="1279"/>
                </a:lnTo>
                <a:lnTo>
                  <a:pt x="3742" y="1244"/>
                </a:lnTo>
                <a:lnTo>
                  <a:pt x="3765" y="1207"/>
                </a:lnTo>
                <a:lnTo>
                  <a:pt x="3786" y="1171"/>
                </a:lnTo>
                <a:lnTo>
                  <a:pt x="3807" y="1133"/>
                </a:lnTo>
                <a:lnTo>
                  <a:pt x="3826" y="1094"/>
                </a:lnTo>
                <a:lnTo>
                  <a:pt x="3842" y="1055"/>
                </a:lnTo>
                <a:lnTo>
                  <a:pt x="3858" y="1014"/>
                </a:lnTo>
                <a:lnTo>
                  <a:pt x="3872" y="974"/>
                </a:lnTo>
                <a:lnTo>
                  <a:pt x="3885" y="932"/>
                </a:lnTo>
                <a:lnTo>
                  <a:pt x="3896" y="890"/>
                </a:lnTo>
                <a:lnTo>
                  <a:pt x="3905" y="848"/>
                </a:lnTo>
                <a:lnTo>
                  <a:pt x="3913" y="805"/>
                </a:lnTo>
                <a:lnTo>
                  <a:pt x="3919" y="762"/>
                </a:lnTo>
                <a:lnTo>
                  <a:pt x="3923" y="717"/>
                </a:lnTo>
                <a:lnTo>
                  <a:pt x="3927" y="673"/>
                </a:lnTo>
                <a:lnTo>
                  <a:pt x="3927" y="628"/>
                </a:lnTo>
                <a:lnTo>
                  <a:pt x="3927" y="0"/>
                </a:lnTo>
                <a:lnTo>
                  <a:pt x="3855" y="0"/>
                </a:lnTo>
                <a:lnTo>
                  <a:pt x="3855" y="256"/>
                </a:lnTo>
                <a:lnTo>
                  <a:pt x="3088" y="0"/>
                </a:lnTo>
                <a:lnTo>
                  <a:pt x="3022" y="0"/>
                </a:lnTo>
                <a:lnTo>
                  <a:pt x="3855" y="278"/>
                </a:lnTo>
                <a:lnTo>
                  <a:pt x="3855" y="628"/>
                </a:lnTo>
                <a:lnTo>
                  <a:pt x="3853" y="671"/>
                </a:lnTo>
                <a:lnTo>
                  <a:pt x="3851" y="711"/>
                </a:lnTo>
                <a:lnTo>
                  <a:pt x="3847" y="753"/>
                </a:lnTo>
                <a:lnTo>
                  <a:pt x="3841" y="793"/>
                </a:lnTo>
                <a:lnTo>
                  <a:pt x="3834" y="834"/>
                </a:lnTo>
                <a:lnTo>
                  <a:pt x="3826" y="874"/>
                </a:lnTo>
                <a:lnTo>
                  <a:pt x="3814" y="913"/>
                </a:lnTo>
                <a:lnTo>
                  <a:pt x="3803" y="951"/>
                </a:lnTo>
                <a:lnTo>
                  <a:pt x="3790" y="990"/>
                </a:lnTo>
                <a:lnTo>
                  <a:pt x="3775" y="1027"/>
                </a:lnTo>
                <a:lnTo>
                  <a:pt x="3759" y="1063"/>
                </a:lnTo>
                <a:lnTo>
                  <a:pt x="3742" y="1100"/>
                </a:lnTo>
                <a:lnTo>
                  <a:pt x="3723" y="1135"/>
                </a:lnTo>
                <a:lnTo>
                  <a:pt x="3703" y="1170"/>
                </a:lnTo>
                <a:lnTo>
                  <a:pt x="3682" y="1204"/>
                </a:lnTo>
                <a:lnTo>
                  <a:pt x="3659" y="1237"/>
                </a:lnTo>
                <a:lnTo>
                  <a:pt x="3635" y="1269"/>
                </a:lnTo>
                <a:lnTo>
                  <a:pt x="3610" y="1300"/>
                </a:lnTo>
                <a:lnTo>
                  <a:pt x="3583" y="1330"/>
                </a:lnTo>
                <a:lnTo>
                  <a:pt x="3555" y="1359"/>
                </a:lnTo>
                <a:lnTo>
                  <a:pt x="3528" y="1388"/>
                </a:lnTo>
                <a:lnTo>
                  <a:pt x="3497" y="1415"/>
                </a:lnTo>
                <a:lnTo>
                  <a:pt x="3467" y="1441"/>
                </a:lnTo>
                <a:lnTo>
                  <a:pt x="3435" y="1465"/>
                </a:lnTo>
                <a:lnTo>
                  <a:pt x="3403" y="1489"/>
                </a:lnTo>
                <a:lnTo>
                  <a:pt x="3368" y="1512"/>
                </a:lnTo>
                <a:lnTo>
                  <a:pt x="3333" y="1533"/>
                </a:lnTo>
                <a:lnTo>
                  <a:pt x="3298" y="1552"/>
                </a:lnTo>
                <a:lnTo>
                  <a:pt x="3261" y="1571"/>
                </a:lnTo>
                <a:lnTo>
                  <a:pt x="3223" y="1588"/>
                </a:lnTo>
                <a:lnTo>
                  <a:pt x="3185" y="1604"/>
                </a:lnTo>
                <a:lnTo>
                  <a:pt x="3145" y="1618"/>
                </a:lnTo>
                <a:lnTo>
                  <a:pt x="3140" y="1621"/>
                </a:lnTo>
                <a:lnTo>
                  <a:pt x="3135" y="1624"/>
                </a:lnTo>
                <a:lnTo>
                  <a:pt x="3121" y="1636"/>
                </a:lnTo>
                <a:lnTo>
                  <a:pt x="3104" y="1650"/>
                </a:lnTo>
                <a:lnTo>
                  <a:pt x="3091" y="1661"/>
                </a:lnTo>
                <a:lnTo>
                  <a:pt x="3084" y="1666"/>
                </a:lnTo>
                <a:lnTo>
                  <a:pt x="0" y="2718"/>
                </a:lnTo>
                <a:lnTo>
                  <a:pt x="0" y="2740"/>
                </a:lnTo>
                <a:close/>
              </a:path>
            </a:pathLst>
          </a:custGeom>
          <a:solidFill>
            <a:srgbClr val="3B3D42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" name="Espaço Reservado para Tex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2184972" y="108228"/>
            <a:ext cx="10782599" cy="765639"/>
          </a:xfrm>
          <a:prstGeom prst="rect">
            <a:avLst/>
          </a:prstGeom>
        </p:spPr>
        <p:txBody>
          <a:bodyPr anchor="t"/>
          <a:lstStyle>
            <a:lvl1pPr>
              <a:buNone/>
              <a:defRPr sz="3771" b="1" baseline="0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 sz="3771">
                <a:latin typeface="Exo 2" pitchFamily="50" charset="0"/>
              </a:defRPr>
            </a:lvl2pPr>
            <a:lvl3pPr>
              <a:buNone/>
              <a:defRPr sz="3771">
                <a:latin typeface="Exo 2" pitchFamily="50" charset="0"/>
              </a:defRPr>
            </a:lvl3pPr>
            <a:lvl4pPr>
              <a:buNone/>
              <a:defRPr sz="3771">
                <a:latin typeface="Exo 2" pitchFamily="50" charset="0"/>
              </a:defRPr>
            </a:lvl4pPr>
            <a:lvl5pPr>
              <a:buNone/>
              <a:defRPr sz="3771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pic>
        <p:nvPicPr>
          <p:cNvPr id="11" name="Imagem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772" y="166084"/>
            <a:ext cx="1342102" cy="50010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5" r:id="rId2"/>
    <p:sldLayoutId id="2147483658" r:id="rId3"/>
    <p:sldLayoutId id="2147483659" r:id="rId4"/>
    <p:sldLayoutId id="2147483663" r:id="rId5"/>
    <p:sldLayoutId id="2147483664" r:id="rId6"/>
    <p:sldLayoutId id="2147483651" r:id="rId7"/>
    <p:sldLayoutId id="2147483650" r:id="rId8"/>
  </p:sldLayoutIdLst>
  <p:hf hdr="0" ftr="0" dt="0"/>
  <p:txStyles>
    <p:titleStyle>
      <a:lvl1pPr algn="ctr" defTabSz="1311286" rtl="0" eaLnBrk="1" latinLnBrk="0" hangingPunct="1">
        <a:spcBef>
          <a:spcPct val="0"/>
        </a:spcBef>
        <a:buNone/>
        <a:defRPr sz="628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91732" indent="-491732" algn="l" defTabSz="1311286" rtl="0" eaLnBrk="1" latinLnBrk="0" hangingPunct="1">
        <a:spcBef>
          <a:spcPct val="20000"/>
        </a:spcBef>
        <a:buFont typeface="Arial" pitchFamily="34" charset="0"/>
        <a:buChar char="•"/>
        <a:defRPr sz="4651" kern="1200">
          <a:solidFill>
            <a:schemeClr val="tx1"/>
          </a:solidFill>
          <a:latin typeface="+mn-lt"/>
          <a:ea typeface="+mn-ea"/>
          <a:cs typeface="+mn-cs"/>
        </a:defRPr>
      </a:lvl1pPr>
      <a:lvl2pPr marL="1065421" indent="-409777" algn="l" defTabSz="1311286" rtl="0" eaLnBrk="1" latinLnBrk="0" hangingPunct="1">
        <a:spcBef>
          <a:spcPct val="20000"/>
        </a:spcBef>
        <a:buFont typeface="Arial" pitchFamily="34" charset="0"/>
        <a:buChar char="–"/>
        <a:defRPr sz="4023" kern="1200">
          <a:solidFill>
            <a:schemeClr val="tx1"/>
          </a:solidFill>
          <a:latin typeface="+mn-lt"/>
          <a:ea typeface="+mn-ea"/>
          <a:cs typeface="+mn-cs"/>
        </a:defRPr>
      </a:lvl2pPr>
      <a:lvl3pPr marL="1639108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3394" kern="1200">
          <a:solidFill>
            <a:schemeClr val="tx1"/>
          </a:solidFill>
          <a:latin typeface="+mn-lt"/>
          <a:ea typeface="+mn-ea"/>
          <a:cs typeface="+mn-cs"/>
        </a:defRPr>
      </a:lvl3pPr>
      <a:lvl4pPr marL="2294751" indent="-327822" algn="l" defTabSz="1311286" rtl="0" eaLnBrk="1" latinLnBrk="0" hangingPunct="1">
        <a:spcBef>
          <a:spcPct val="20000"/>
        </a:spcBef>
        <a:buFont typeface="Arial" pitchFamily="34" charset="0"/>
        <a:buChar char="–"/>
        <a:defRPr sz="2891" kern="1200">
          <a:solidFill>
            <a:schemeClr val="tx1"/>
          </a:solidFill>
          <a:latin typeface="+mn-lt"/>
          <a:ea typeface="+mn-ea"/>
          <a:cs typeface="+mn-cs"/>
        </a:defRPr>
      </a:lvl4pPr>
      <a:lvl5pPr marL="2950394" indent="-327822" algn="l" defTabSz="1311286" rtl="0" eaLnBrk="1" latinLnBrk="0" hangingPunct="1">
        <a:spcBef>
          <a:spcPct val="20000"/>
        </a:spcBef>
        <a:buFont typeface="Arial" pitchFamily="34" charset="0"/>
        <a:buChar char="»"/>
        <a:defRPr sz="2891" kern="1200">
          <a:solidFill>
            <a:schemeClr val="tx1"/>
          </a:solidFill>
          <a:latin typeface="+mn-lt"/>
          <a:ea typeface="+mn-ea"/>
          <a:cs typeface="+mn-cs"/>
        </a:defRPr>
      </a:lvl5pPr>
      <a:lvl6pPr marL="3606037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2891" kern="1200">
          <a:solidFill>
            <a:schemeClr val="tx1"/>
          </a:solidFill>
          <a:latin typeface="+mn-lt"/>
          <a:ea typeface="+mn-ea"/>
          <a:cs typeface="+mn-cs"/>
        </a:defRPr>
      </a:lvl6pPr>
      <a:lvl7pPr marL="4261681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2891" kern="1200">
          <a:solidFill>
            <a:schemeClr val="tx1"/>
          </a:solidFill>
          <a:latin typeface="+mn-lt"/>
          <a:ea typeface="+mn-ea"/>
          <a:cs typeface="+mn-cs"/>
        </a:defRPr>
      </a:lvl7pPr>
      <a:lvl8pPr marL="4917324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2891" kern="1200">
          <a:solidFill>
            <a:schemeClr val="tx1"/>
          </a:solidFill>
          <a:latin typeface="+mn-lt"/>
          <a:ea typeface="+mn-ea"/>
          <a:cs typeface="+mn-cs"/>
        </a:defRPr>
      </a:lvl8pPr>
      <a:lvl9pPr marL="5572966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289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1pPr>
      <a:lvl2pPr marL="655643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2pPr>
      <a:lvl3pPr marL="1311286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3pPr>
      <a:lvl4pPr marL="1966929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4pPr>
      <a:lvl5pPr marL="2622572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5pPr>
      <a:lvl6pPr marL="3278215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6pPr>
      <a:lvl7pPr marL="3933858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7pPr>
      <a:lvl8pPr marL="4589502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8pPr>
      <a:lvl9pPr marL="5245144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9" r:id="rId3"/>
  </p:sldLayoutIdLst>
  <p:txStyles>
    <p:titleStyle>
      <a:lvl1pPr algn="ctr" defTabSz="1149545" rtl="0" eaLnBrk="1" latinLnBrk="0" hangingPunct="1">
        <a:spcBef>
          <a:spcPct val="0"/>
        </a:spcBef>
        <a:buNone/>
        <a:defRPr sz="553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1080" indent="-431080" algn="l" defTabSz="1149545" rtl="0" eaLnBrk="1" latinLnBrk="0" hangingPunct="1">
        <a:spcBef>
          <a:spcPct val="20000"/>
        </a:spcBef>
        <a:buFont typeface="Arial" pitchFamily="34" charset="0"/>
        <a:buChar char="•"/>
        <a:defRPr sz="4023" kern="1200">
          <a:solidFill>
            <a:schemeClr val="tx1"/>
          </a:solidFill>
          <a:latin typeface="+mn-lt"/>
          <a:ea typeface="+mn-ea"/>
          <a:cs typeface="+mn-cs"/>
        </a:defRPr>
      </a:lvl1pPr>
      <a:lvl2pPr marL="934005" indent="-359233" algn="l" defTabSz="1149545" rtl="0" eaLnBrk="1" latinLnBrk="0" hangingPunct="1">
        <a:spcBef>
          <a:spcPct val="20000"/>
        </a:spcBef>
        <a:buFont typeface="Arial" pitchFamily="34" charset="0"/>
        <a:buChar char="–"/>
        <a:defRPr sz="3520" kern="1200">
          <a:solidFill>
            <a:schemeClr val="tx1"/>
          </a:solidFill>
          <a:latin typeface="+mn-lt"/>
          <a:ea typeface="+mn-ea"/>
          <a:cs typeface="+mn-cs"/>
        </a:defRPr>
      </a:lvl2pPr>
      <a:lvl3pPr marL="1436931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3017" kern="1200">
          <a:solidFill>
            <a:schemeClr val="tx1"/>
          </a:solidFill>
          <a:latin typeface="+mn-lt"/>
          <a:ea typeface="+mn-ea"/>
          <a:cs typeface="+mn-cs"/>
        </a:defRPr>
      </a:lvl3pPr>
      <a:lvl4pPr marL="2011704" indent="-287386" algn="l" defTabSz="1149545" rtl="0" eaLnBrk="1" latinLnBrk="0" hangingPunct="1">
        <a:spcBef>
          <a:spcPct val="20000"/>
        </a:spcBef>
        <a:buFont typeface="Arial" pitchFamily="34" charset="0"/>
        <a:buChar char="–"/>
        <a:defRPr sz="2514" kern="1200">
          <a:solidFill>
            <a:schemeClr val="tx1"/>
          </a:solidFill>
          <a:latin typeface="+mn-lt"/>
          <a:ea typeface="+mn-ea"/>
          <a:cs typeface="+mn-cs"/>
        </a:defRPr>
      </a:lvl4pPr>
      <a:lvl5pPr marL="2586478" indent="-287386" algn="l" defTabSz="1149545" rtl="0" eaLnBrk="1" latinLnBrk="0" hangingPunct="1">
        <a:spcBef>
          <a:spcPct val="20000"/>
        </a:spcBef>
        <a:buFont typeface="Arial" pitchFamily="34" charset="0"/>
        <a:buChar char="»"/>
        <a:defRPr sz="2514" kern="1200">
          <a:solidFill>
            <a:schemeClr val="tx1"/>
          </a:solidFill>
          <a:latin typeface="+mn-lt"/>
          <a:ea typeface="+mn-ea"/>
          <a:cs typeface="+mn-cs"/>
        </a:defRPr>
      </a:lvl5pPr>
      <a:lvl6pPr marL="3161249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6pPr>
      <a:lvl7pPr marL="3736023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7pPr>
      <a:lvl8pPr marL="4310795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8pPr>
      <a:lvl9pPr marL="4885567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1pPr>
      <a:lvl2pPr marL="574773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2pPr>
      <a:lvl3pPr marL="114954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3pPr>
      <a:lvl4pPr marL="1724316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4pPr>
      <a:lvl5pPr marL="229909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5pPr>
      <a:lvl6pPr marL="2873864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6pPr>
      <a:lvl7pPr marL="344863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7pPr>
      <a:lvl8pPr marL="4023409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8pPr>
      <a:lvl9pPr marL="4598181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</p:sldLayoutIdLst>
  <p:txStyles>
    <p:titleStyle>
      <a:lvl1pPr algn="ctr" defTabSz="1149545" rtl="0" eaLnBrk="1" latinLnBrk="0" hangingPunct="1">
        <a:spcBef>
          <a:spcPct val="0"/>
        </a:spcBef>
        <a:buNone/>
        <a:defRPr sz="553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1080" indent="-431080" algn="l" defTabSz="1149545" rtl="0" eaLnBrk="1" latinLnBrk="0" hangingPunct="1">
        <a:spcBef>
          <a:spcPct val="20000"/>
        </a:spcBef>
        <a:buFont typeface="Arial" pitchFamily="34" charset="0"/>
        <a:buChar char="•"/>
        <a:defRPr sz="4023" kern="1200">
          <a:solidFill>
            <a:schemeClr val="tx1"/>
          </a:solidFill>
          <a:latin typeface="+mn-lt"/>
          <a:ea typeface="+mn-ea"/>
          <a:cs typeface="+mn-cs"/>
        </a:defRPr>
      </a:lvl1pPr>
      <a:lvl2pPr marL="934005" indent="-359233" algn="l" defTabSz="1149545" rtl="0" eaLnBrk="1" latinLnBrk="0" hangingPunct="1">
        <a:spcBef>
          <a:spcPct val="20000"/>
        </a:spcBef>
        <a:buFont typeface="Arial" pitchFamily="34" charset="0"/>
        <a:buChar char="–"/>
        <a:defRPr sz="3520" kern="1200">
          <a:solidFill>
            <a:schemeClr val="tx1"/>
          </a:solidFill>
          <a:latin typeface="+mn-lt"/>
          <a:ea typeface="+mn-ea"/>
          <a:cs typeface="+mn-cs"/>
        </a:defRPr>
      </a:lvl2pPr>
      <a:lvl3pPr marL="1436931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3017" kern="1200">
          <a:solidFill>
            <a:schemeClr val="tx1"/>
          </a:solidFill>
          <a:latin typeface="+mn-lt"/>
          <a:ea typeface="+mn-ea"/>
          <a:cs typeface="+mn-cs"/>
        </a:defRPr>
      </a:lvl3pPr>
      <a:lvl4pPr marL="2011704" indent="-287386" algn="l" defTabSz="1149545" rtl="0" eaLnBrk="1" latinLnBrk="0" hangingPunct="1">
        <a:spcBef>
          <a:spcPct val="20000"/>
        </a:spcBef>
        <a:buFont typeface="Arial" pitchFamily="34" charset="0"/>
        <a:buChar char="–"/>
        <a:defRPr sz="2514" kern="1200">
          <a:solidFill>
            <a:schemeClr val="tx1"/>
          </a:solidFill>
          <a:latin typeface="+mn-lt"/>
          <a:ea typeface="+mn-ea"/>
          <a:cs typeface="+mn-cs"/>
        </a:defRPr>
      </a:lvl4pPr>
      <a:lvl5pPr marL="2586478" indent="-287386" algn="l" defTabSz="1149545" rtl="0" eaLnBrk="1" latinLnBrk="0" hangingPunct="1">
        <a:spcBef>
          <a:spcPct val="20000"/>
        </a:spcBef>
        <a:buFont typeface="Arial" pitchFamily="34" charset="0"/>
        <a:buChar char="»"/>
        <a:defRPr sz="2514" kern="1200">
          <a:solidFill>
            <a:schemeClr val="tx1"/>
          </a:solidFill>
          <a:latin typeface="+mn-lt"/>
          <a:ea typeface="+mn-ea"/>
          <a:cs typeface="+mn-cs"/>
        </a:defRPr>
      </a:lvl5pPr>
      <a:lvl6pPr marL="3161249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6pPr>
      <a:lvl7pPr marL="3736023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7pPr>
      <a:lvl8pPr marL="4310795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8pPr>
      <a:lvl9pPr marL="4885567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1pPr>
      <a:lvl2pPr marL="574773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2pPr>
      <a:lvl3pPr marL="114954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3pPr>
      <a:lvl4pPr marL="1724316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4pPr>
      <a:lvl5pPr marL="229909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5pPr>
      <a:lvl6pPr marL="2873864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6pPr>
      <a:lvl7pPr marL="344863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7pPr>
      <a:lvl8pPr marL="4023409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8pPr>
      <a:lvl9pPr marL="4598181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4"/>
          </p:nvPr>
        </p:nvSpPr>
        <p:spPr>
          <a:xfrm>
            <a:off x="12645557" y="7237015"/>
            <a:ext cx="628646" cy="214290"/>
          </a:xfrm>
        </p:spPr>
        <p:txBody>
          <a:bodyPr/>
          <a:lstStyle/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2</a:t>
            </a:fld>
            <a:endParaRPr lang="pt-BR" sz="880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3"/>
          </p:nvPr>
        </p:nvSpPr>
        <p:spPr>
          <a:xfrm>
            <a:off x="2184972" y="108228"/>
            <a:ext cx="10782599" cy="765639"/>
          </a:xfrm>
        </p:spPr>
        <p:txBody>
          <a:bodyPr/>
          <a:lstStyle/>
          <a:p>
            <a:r>
              <a:rPr lang="pt-BR" dirty="0"/>
              <a:t>Time</a:t>
            </a:r>
          </a:p>
        </p:txBody>
      </p:sp>
      <p:sp>
        <p:nvSpPr>
          <p:cNvPr id="13" name="Espaço Reservado para Conteúdo 2"/>
          <p:cNvSpPr txBox="1">
            <a:spLocks/>
          </p:cNvSpPr>
          <p:nvPr/>
        </p:nvSpPr>
        <p:spPr>
          <a:xfrm>
            <a:off x="1032843" y="1108163"/>
            <a:ext cx="12025336" cy="6344876"/>
          </a:xfrm>
          <a:prstGeom prst="rect">
            <a:avLst/>
          </a:prstGeom>
        </p:spPr>
        <p:txBody>
          <a:bodyPr>
            <a:noAutofit/>
          </a:bodyPr>
          <a:lstStyle>
            <a:lvl1pPr marL="431080" indent="-431080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0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4005" indent="-359233" algn="l" defTabSz="114954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36931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11704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86478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61249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36023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10795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85567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pPr marL="0" indent="0" algn="just">
              <a:buNone/>
            </a:pPr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1062219" y="1260351"/>
            <a:ext cx="11347888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2400" b="1" dirty="0">
                <a:solidFill>
                  <a:srgbClr val="253746"/>
                </a:solidFill>
                <a:latin typeface="Exo 2" panose="00000500000000000000" pitchFamily="50" charset="0"/>
              </a:rPr>
              <a:t>GRUPO .</a:t>
            </a:r>
            <a:r>
              <a:rPr lang="pt-BR" sz="2400" b="1" dirty="0" err="1">
                <a:solidFill>
                  <a:srgbClr val="253746"/>
                </a:solidFill>
                <a:latin typeface="Exo 2" panose="00000500000000000000" pitchFamily="50" charset="0"/>
              </a:rPr>
              <a:t>MineHash</a:t>
            </a:r>
            <a:endParaRPr lang="pt-BR" sz="2400" b="1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pPr algn="just"/>
            <a:endParaRPr lang="pt-BR" sz="2400" b="1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01191127 / Gabriel Sutto Ramos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01191065 / Fabíola Canedo </a:t>
            </a:r>
            <a:r>
              <a:rPr lang="pt-BR" sz="2400" dirty="0" err="1">
                <a:solidFill>
                  <a:srgbClr val="253746"/>
                </a:solidFill>
                <a:latin typeface="Exo 2" panose="00000500000000000000" pitchFamily="50" charset="0"/>
              </a:rPr>
              <a:t>Yugar</a:t>
            </a:r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01191104 / Natalia Medina de Oliveira Juliano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01191086 / Leonardo </a:t>
            </a:r>
            <a:r>
              <a:rPr lang="pt-BR" sz="2400" dirty="0" err="1">
                <a:solidFill>
                  <a:srgbClr val="253746"/>
                </a:solidFill>
                <a:latin typeface="Exo 2" panose="00000500000000000000" pitchFamily="50" charset="0"/>
              </a:rPr>
              <a:t>Italo</a:t>
            </a:r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01191120 / Yuri </a:t>
            </a:r>
            <a:r>
              <a:rPr lang="pt-BR" sz="2400" dirty="0" err="1">
                <a:solidFill>
                  <a:srgbClr val="253746"/>
                </a:solidFill>
                <a:latin typeface="Exo 2" panose="00000500000000000000" pitchFamily="50" charset="0"/>
              </a:rPr>
              <a:t>Uliam</a:t>
            </a:r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</p:txBody>
      </p:sp>
      <p:pic>
        <p:nvPicPr>
          <p:cNvPr id="1026" name="Picture 2" descr="Resultado de imagem para retrospectiva da sprin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6163" y="3972433"/>
            <a:ext cx="5914342" cy="3262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59181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4"/>
          </p:nvPr>
        </p:nvSpPr>
        <p:spPr>
          <a:xfrm>
            <a:off x="12645557" y="7237015"/>
            <a:ext cx="628646" cy="214290"/>
          </a:xfrm>
        </p:spPr>
        <p:txBody>
          <a:bodyPr/>
          <a:lstStyle/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3</a:t>
            </a:fld>
            <a:endParaRPr lang="pt-BR" sz="880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3"/>
          </p:nvPr>
        </p:nvSpPr>
        <p:spPr>
          <a:xfrm>
            <a:off x="2184972" y="108228"/>
            <a:ext cx="10782599" cy="765639"/>
          </a:xfrm>
        </p:spPr>
        <p:txBody>
          <a:bodyPr/>
          <a:lstStyle/>
          <a:p>
            <a:r>
              <a:rPr lang="pt-BR" dirty="0"/>
              <a:t>Atividade 01</a:t>
            </a:r>
          </a:p>
        </p:txBody>
      </p:sp>
      <p:sp>
        <p:nvSpPr>
          <p:cNvPr id="13" name="Espaço Reservado para Conteúdo 2"/>
          <p:cNvSpPr txBox="1">
            <a:spLocks/>
          </p:cNvSpPr>
          <p:nvPr/>
        </p:nvSpPr>
        <p:spPr>
          <a:xfrm>
            <a:off x="1032843" y="1108163"/>
            <a:ext cx="12025336" cy="6344876"/>
          </a:xfrm>
          <a:prstGeom prst="rect">
            <a:avLst/>
          </a:prstGeom>
        </p:spPr>
        <p:txBody>
          <a:bodyPr>
            <a:noAutofit/>
          </a:bodyPr>
          <a:lstStyle>
            <a:lvl1pPr marL="431080" indent="-431080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0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4005" indent="-359233" algn="l" defTabSz="114954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36931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11704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86478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61249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36023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10795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85567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pPr marL="0" indent="0" algn="just">
              <a:buNone/>
            </a:pPr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1062219" y="1260351"/>
            <a:ext cx="11347888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2400" b="1" dirty="0">
                <a:solidFill>
                  <a:srgbClr val="253746"/>
                </a:solidFill>
                <a:latin typeface="Exo 2" panose="00000500000000000000" pitchFamily="50" charset="0"/>
              </a:rPr>
              <a:t>Reunião de Retrospectiva da Sprint Passada (Grupos Novos)</a:t>
            </a:r>
          </a:p>
          <a:p>
            <a:pPr algn="just"/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Montar um PPT com os seguintes slides. </a:t>
            </a:r>
          </a:p>
          <a:p>
            <a:pPr algn="just"/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Foco: Planejamento/Gestão do Tempo, Execução, Metodologia de Trabalho, Riscos/Imprevistos. </a:t>
            </a:r>
          </a:p>
          <a:p>
            <a:pPr algn="just"/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pPr algn="just"/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Os itens socioemocionais serão trabalhados pelo </a:t>
            </a:r>
            <a:r>
              <a:rPr lang="pt-BR" sz="2400" dirty="0" err="1">
                <a:solidFill>
                  <a:srgbClr val="253746"/>
                </a:solidFill>
                <a:latin typeface="Exo 2" panose="00000500000000000000" pitchFamily="50" charset="0"/>
              </a:rPr>
              <a:t>Profª</a:t>
            </a:r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 Vera. </a:t>
            </a:r>
          </a:p>
          <a:p>
            <a:pPr algn="just"/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pPr algn="just"/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O que deu certo?</a:t>
            </a:r>
          </a:p>
          <a:p>
            <a:pPr algn="just"/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O que não deu certo?</a:t>
            </a:r>
          </a:p>
          <a:p>
            <a:pPr algn="just"/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Plano de Ação para este semestre.</a:t>
            </a:r>
          </a:p>
        </p:txBody>
      </p:sp>
      <p:pic>
        <p:nvPicPr>
          <p:cNvPr id="1026" name="Picture 2" descr="Resultado de imagem para retrospectiva da sprin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6163" y="3972433"/>
            <a:ext cx="5914342" cy="3262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84430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5"/>
          <p:cNvSpPr txBox="1">
            <a:spLocks/>
          </p:cNvSpPr>
          <p:nvPr/>
        </p:nvSpPr>
        <p:spPr>
          <a:xfrm>
            <a:off x="282944" y="186348"/>
            <a:ext cx="10836482" cy="12521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662"/>
              </a:spcAft>
            </a:pPr>
            <a:r>
              <a:rPr lang="pt-BR" sz="3087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PROJETO .</a:t>
            </a:r>
            <a:r>
              <a:rPr lang="pt-BR" sz="3087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MineHash</a:t>
            </a:r>
            <a:r>
              <a:rPr lang="pt-BR" sz="3087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– REUNIÃO DE RETROSPECTIVA</a:t>
            </a: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7BA7F7-9ECA-4650-BA2A-F44574574266}" type="slidenum">
              <a:rPr lang="pt-BR" smtClean="0"/>
              <a:pPr/>
              <a:t>4</a:t>
            </a:fld>
            <a:endParaRPr lang="pt-BR" dirty="0"/>
          </a:p>
        </p:txBody>
      </p:sp>
      <p:cxnSp>
        <p:nvCxnSpPr>
          <p:cNvPr id="4" name="Conector reto 3"/>
          <p:cNvCxnSpPr/>
          <p:nvPr/>
        </p:nvCxnSpPr>
        <p:spPr>
          <a:xfrm flipH="1">
            <a:off x="4417219" y="1692399"/>
            <a:ext cx="0" cy="4643925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ector reto 4"/>
          <p:cNvCxnSpPr/>
          <p:nvPr/>
        </p:nvCxnSpPr>
        <p:spPr>
          <a:xfrm flipH="1">
            <a:off x="8945722" y="1661540"/>
            <a:ext cx="8001" cy="4783387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aixaDeTexto 5"/>
          <p:cNvSpPr txBox="1"/>
          <p:nvPr/>
        </p:nvSpPr>
        <p:spPr>
          <a:xfrm>
            <a:off x="1519576" y="983576"/>
            <a:ext cx="1478290" cy="567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LOUCO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5521046" y="1038684"/>
            <a:ext cx="1537600" cy="567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TRISTE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9673803" y="1044327"/>
            <a:ext cx="2682255" cy="567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CONTENTE</a:t>
            </a: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559357" y="2412479"/>
            <a:ext cx="1667358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en-GB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D</a:t>
            </a:r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emora para escolher um tema</a:t>
            </a:r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2307351" y="2412479"/>
            <a:ext cx="1667358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urto prazo para os entregáveis </a:t>
            </a:r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4657371" y="2412479"/>
            <a:ext cx="1667358" cy="873217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Saída de um membro </a:t>
            </a:r>
          </a:p>
        </p:txBody>
      </p:sp>
      <p:sp>
        <p:nvSpPr>
          <p:cNvPr id="21" name="Retângulo 20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591363" y="4396809"/>
            <a:ext cx="1667358" cy="873217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Ausência de membros nas reuniões </a:t>
            </a:r>
          </a:p>
        </p:txBody>
      </p:sp>
      <p:sp>
        <p:nvSpPr>
          <p:cNvPr id="22" name="Retângulo 21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2347357" y="4396809"/>
            <a:ext cx="1667358" cy="873217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en-GB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F</a:t>
            </a:r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alta de participação</a:t>
            </a:r>
          </a:p>
        </p:txBody>
      </p:sp>
      <p:sp>
        <p:nvSpPr>
          <p:cNvPr id="26" name="Retângulo 25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9855154" y="2292250"/>
            <a:ext cx="1947349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E</a:t>
            </a:r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escolher um tema interessante</a:t>
            </a:r>
          </a:p>
        </p:txBody>
      </p:sp>
      <p:sp>
        <p:nvSpPr>
          <p:cNvPr id="27" name="Retângulo 26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9891198" y="3468026"/>
            <a:ext cx="1939348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Dedicação dos membros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pic>
        <p:nvPicPr>
          <p:cNvPr id="65" name="Picture 4" descr="Resultado de imagem para icone voltar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72007" y="7149073"/>
            <a:ext cx="353925" cy="353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tângulo 18">
            <a:extLst>
              <a:ext uri="{FF2B5EF4-FFF2-40B4-BE49-F238E27FC236}">
                <a16:creationId xmlns:a16="http://schemas.microsoft.com/office/drawing/2014/main" id="{C8DBFA62-5D55-40FA-A022-4BD996F9AFC5}"/>
              </a:ext>
            </a:extLst>
          </p:cNvPr>
          <p:cNvSpPr/>
          <p:nvPr/>
        </p:nvSpPr>
        <p:spPr>
          <a:xfrm>
            <a:off x="6564880" y="2412478"/>
            <a:ext cx="1667358" cy="873217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O resultado obtido não foi satisfatório </a:t>
            </a:r>
          </a:p>
        </p:txBody>
      </p:sp>
    </p:spTree>
    <p:extLst>
      <p:ext uri="{BB962C8B-B14F-4D97-AF65-F5344CB8AC3E}">
        <p14:creationId xmlns:p14="http://schemas.microsoft.com/office/powerpoint/2010/main" val="2200322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5"/>
          <p:cNvSpPr txBox="1">
            <a:spLocks/>
          </p:cNvSpPr>
          <p:nvPr/>
        </p:nvSpPr>
        <p:spPr>
          <a:xfrm>
            <a:off x="282944" y="186348"/>
            <a:ext cx="10836482" cy="12521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662"/>
              </a:spcAft>
            </a:pPr>
            <a:r>
              <a:rPr lang="pt-BR" sz="3087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PROJETO .</a:t>
            </a:r>
            <a:r>
              <a:rPr lang="pt-BR" sz="3087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MineHash</a:t>
            </a:r>
            <a:r>
              <a:rPr lang="pt-BR" sz="3087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 – PLANO DE AÇÃO</a:t>
            </a: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7BA7F7-9ECA-4650-BA2A-F44574574266}" type="slidenum">
              <a:rPr lang="pt-BR" smtClean="0"/>
              <a:pPr/>
              <a:t>5</a:t>
            </a:fld>
            <a:endParaRPr lang="pt-BR" dirty="0"/>
          </a:p>
        </p:txBody>
      </p:sp>
      <p:cxnSp>
        <p:nvCxnSpPr>
          <p:cNvPr id="4" name="Conector reto 3"/>
          <p:cNvCxnSpPr/>
          <p:nvPr/>
        </p:nvCxnSpPr>
        <p:spPr>
          <a:xfrm flipH="1">
            <a:off x="4201195" y="1692399"/>
            <a:ext cx="0" cy="4643925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ector reto 4"/>
          <p:cNvCxnSpPr/>
          <p:nvPr/>
        </p:nvCxnSpPr>
        <p:spPr>
          <a:xfrm flipH="1">
            <a:off x="8945722" y="1661540"/>
            <a:ext cx="8001" cy="4783387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aixaDeTexto 5"/>
          <p:cNvSpPr txBox="1"/>
          <p:nvPr/>
        </p:nvSpPr>
        <p:spPr>
          <a:xfrm>
            <a:off x="1519576" y="983576"/>
            <a:ext cx="1478290" cy="567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LOUCO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5521046" y="1038684"/>
            <a:ext cx="1537600" cy="567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TRISTE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9673803" y="1044327"/>
            <a:ext cx="2682255" cy="567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CONTENTE</a:t>
            </a:r>
          </a:p>
        </p:txBody>
      </p:sp>
      <p:pic>
        <p:nvPicPr>
          <p:cNvPr id="65" name="Picture 4" descr="Resultado de imagem para icone voltar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72007" y="7149073"/>
            <a:ext cx="353925" cy="353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tângulo 20">
            <a:extLst>
              <a:ext uri="{FF2B5EF4-FFF2-40B4-BE49-F238E27FC236}">
                <a16:creationId xmlns:a16="http://schemas.microsoft.com/office/drawing/2014/main" id="{BCE49AE2-7152-4E69-A699-30A32FA765A6}"/>
              </a:ext>
            </a:extLst>
          </p:cNvPr>
          <p:cNvSpPr/>
          <p:nvPr/>
        </p:nvSpPr>
        <p:spPr>
          <a:xfrm>
            <a:off x="559357" y="2412479"/>
            <a:ext cx="1667358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en-GB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D</a:t>
            </a:r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emora para escolher um tema</a:t>
            </a:r>
          </a:p>
        </p:txBody>
      </p:sp>
      <p:sp>
        <p:nvSpPr>
          <p:cNvPr id="22" name="Retângulo 21">
            <a:extLst>
              <a:ext uri="{FF2B5EF4-FFF2-40B4-BE49-F238E27FC236}">
                <a16:creationId xmlns:a16="http://schemas.microsoft.com/office/drawing/2014/main" id="{F4036D28-A26A-4C94-AF2E-2AAE8EC24E1C}"/>
              </a:ext>
            </a:extLst>
          </p:cNvPr>
          <p:cNvSpPr/>
          <p:nvPr/>
        </p:nvSpPr>
        <p:spPr>
          <a:xfrm>
            <a:off x="638266" y="3683160"/>
            <a:ext cx="1667358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urto prazo para os entregáveis </a:t>
            </a:r>
          </a:p>
        </p:txBody>
      </p:sp>
      <p:sp>
        <p:nvSpPr>
          <p:cNvPr id="28" name="Retângulo 27">
            <a:extLst>
              <a:ext uri="{FF2B5EF4-FFF2-40B4-BE49-F238E27FC236}">
                <a16:creationId xmlns:a16="http://schemas.microsoft.com/office/drawing/2014/main" id="{DDDC36E5-FBAE-498B-8CE6-226C482C8ACD}"/>
              </a:ext>
            </a:extLst>
          </p:cNvPr>
          <p:cNvSpPr/>
          <p:nvPr/>
        </p:nvSpPr>
        <p:spPr>
          <a:xfrm>
            <a:off x="4737035" y="3799583"/>
            <a:ext cx="1667358" cy="873217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Saída de um membro </a:t>
            </a:r>
          </a:p>
        </p:txBody>
      </p:sp>
      <p:sp>
        <p:nvSpPr>
          <p:cNvPr id="29" name="Retângulo 28">
            <a:extLst>
              <a:ext uri="{FF2B5EF4-FFF2-40B4-BE49-F238E27FC236}">
                <a16:creationId xmlns:a16="http://schemas.microsoft.com/office/drawing/2014/main" id="{7D93A14E-23CA-42BE-ABD1-4B33517A4BF9}"/>
              </a:ext>
            </a:extLst>
          </p:cNvPr>
          <p:cNvSpPr/>
          <p:nvPr/>
        </p:nvSpPr>
        <p:spPr>
          <a:xfrm>
            <a:off x="737155" y="6008318"/>
            <a:ext cx="1667358" cy="873217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Ausência de membros nas reuniões </a:t>
            </a:r>
          </a:p>
        </p:txBody>
      </p:sp>
      <p:sp>
        <p:nvSpPr>
          <p:cNvPr id="30" name="Retângulo 29">
            <a:extLst>
              <a:ext uri="{FF2B5EF4-FFF2-40B4-BE49-F238E27FC236}">
                <a16:creationId xmlns:a16="http://schemas.microsoft.com/office/drawing/2014/main" id="{A59B9239-0DDE-4134-A02E-E174EB19F139}"/>
              </a:ext>
            </a:extLst>
          </p:cNvPr>
          <p:cNvSpPr/>
          <p:nvPr/>
        </p:nvSpPr>
        <p:spPr>
          <a:xfrm>
            <a:off x="695837" y="4830709"/>
            <a:ext cx="1667358" cy="873217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en-GB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F</a:t>
            </a:r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alta de participação</a:t>
            </a:r>
          </a:p>
        </p:txBody>
      </p:sp>
      <p:sp>
        <p:nvSpPr>
          <p:cNvPr id="31" name="Retângulo 30">
            <a:extLst>
              <a:ext uri="{FF2B5EF4-FFF2-40B4-BE49-F238E27FC236}">
                <a16:creationId xmlns:a16="http://schemas.microsoft.com/office/drawing/2014/main" id="{488FA048-8D8A-44B5-BAEE-23BC3AF90534}"/>
              </a:ext>
            </a:extLst>
          </p:cNvPr>
          <p:cNvSpPr/>
          <p:nvPr/>
        </p:nvSpPr>
        <p:spPr>
          <a:xfrm>
            <a:off x="9855154" y="2292250"/>
            <a:ext cx="1947349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E</a:t>
            </a:r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escolher um tema interessante</a:t>
            </a:r>
          </a:p>
        </p:txBody>
      </p:sp>
      <p:sp>
        <p:nvSpPr>
          <p:cNvPr id="32" name="Retângulo 31">
            <a:extLst>
              <a:ext uri="{FF2B5EF4-FFF2-40B4-BE49-F238E27FC236}">
                <a16:creationId xmlns:a16="http://schemas.microsoft.com/office/drawing/2014/main" id="{4D36DD72-60EE-4D49-82AE-DC4BBB9B73C7}"/>
              </a:ext>
            </a:extLst>
          </p:cNvPr>
          <p:cNvSpPr/>
          <p:nvPr/>
        </p:nvSpPr>
        <p:spPr>
          <a:xfrm>
            <a:off x="9172032" y="3634266"/>
            <a:ext cx="1939348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Dedicação dos membros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33" name="Retângulo 32">
            <a:extLst>
              <a:ext uri="{FF2B5EF4-FFF2-40B4-BE49-F238E27FC236}">
                <a16:creationId xmlns:a16="http://schemas.microsoft.com/office/drawing/2014/main" id="{A46EA1D9-F38E-461E-B7DC-8424DE7708AC}"/>
              </a:ext>
            </a:extLst>
          </p:cNvPr>
          <p:cNvSpPr/>
          <p:nvPr/>
        </p:nvSpPr>
        <p:spPr>
          <a:xfrm>
            <a:off x="4780535" y="2283701"/>
            <a:ext cx="1667358" cy="873217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O resultado obtido não foi satisfatório </a:t>
            </a:r>
          </a:p>
        </p:txBody>
      </p:sp>
      <p:sp>
        <p:nvSpPr>
          <p:cNvPr id="34" name="Retângulo 33">
            <a:extLst>
              <a:ext uri="{FF2B5EF4-FFF2-40B4-BE49-F238E27FC236}">
                <a16:creationId xmlns:a16="http://schemas.microsoft.com/office/drawing/2014/main" id="{BBBB8929-EA67-43D2-B1A9-728AB2C93B79}"/>
              </a:ext>
            </a:extLst>
          </p:cNvPr>
          <p:cNvSpPr/>
          <p:nvPr/>
        </p:nvSpPr>
        <p:spPr>
          <a:xfrm>
            <a:off x="6113530" y="4236191"/>
            <a:ext cx="1229968" cy="64036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4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Adaptar</a:t>
            </a:r>
          </a:p>
        </p:txBody>
      </p:sp>
      <p:sp>
        <p:nvSpPr>
          <p:cNvPr id="25" name="Retângulo 24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2023442" y="2528902"/>
            <a:ext cx="1229968" cy="64036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en-GB" sz="14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f</a:t>
            </a:r>
            <a:r>
              <a:rPr lang="pt-BR" sz="14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oco</a:t>
            </a:r>
          </a:p>
        </p:txBody>
      </p:sp>
      <p:sp>
        <p:nvSpPr>
          <p:cNvPr id="37" name="Retângulo 36">
            <a:extLst>
              <a:ext uri="{FF2B5EF4-FFF2-40B4-BE49-F238E27FC236}">
                <a16:creationId xmlns:a16="http://schemas.microsoft.com/office/drawing/2014/main" id="{F4CB862B-D143-480C-BCAE-898A6EB739DF}"/>
              </a:ext>
            </a:extLst>
          </p:cNvPr>
          <p:cNvSpPr/>
          <p:nvPr/>
        </p:nvSpPr>
        <p:spPr>
          <a:xfrm>
            <a:off x="2116041" y="3536533"/>
            <a:ext cx="1505803" cy="64036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en-GB" sz="1400" dirty="0" err="1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Planejamento</a:t>
            </a:r>
            <a:endParaRPr lang="pt-BR" sz="1400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38" name="Retângulo 37">
            <a:extLst>
              <a:ext uri="{FF2B5EF4-FFF2-40B4-BE49-F238E27FC236}">
                <a16:creationId xmlns:a16="http://schemas.microsoft.com/office/drawing/2014/main" id="{10D98B7F-EB9C-4881-879C-58302C14D368}"/>
              </a:ext>
            </a:extLst>
          </p:cNvPr>
          <p:cNvSpPr/>
          <p:nvPr/>
        </p:nvSpPr>
        <p:spPr>
          <a:xfrm>
            <a:off x="6324729" y="2357062"/>
            <a:ext cx="1229968" cy="64036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en-GB" sz="14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M</a:t>
            </a:r>
            <a:r>
              <a:rPr lang="pt-BR" sz="1400" dirty="0" err="1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aior</a:t>
            </a:r>
            <a:r>
              <a:rPr lang="pt-BR" sz="14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 empenho</a:t>
            </a:r>
          </a:p>
        </p:txBody>
      </p:sp>
      <p:sp>
        <p:nvSpPr>
          <p:cNvPr id="39" name="Retângulo 38">
            <a:extLst>
              <a:ext uri="{FF2B5EF4-FFF2-40B4-BE49-F238E27FC236}">
                <a16:creationId xmlns:a16="http://schemas.microsoft.com/office/drawing/2014/main" id="{9F4A4159-BB93-475D-AA4D-1080A84AE612}"/>
              </a:ext>
            </a:extLst>
          </p:cNvPr>
          <p:cNvSpPr/>
          <p:nvPr/>
        </p:nvSpPr>
        <p:spPr>
          <a:xfrm>
            <a:off x="2170115" y="4960669"/>
            <a:ext cx="1229968" cy="640369"/>
          </a:xfrm>
          <a:prstGeom prst="rect">
            <a:avLst/>
          </a:prstGeom>
          <a:solidFill>
            <a:srgbClr val="92D05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en-GB" sz="14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I</a:t>
            </a:r>
            <a:r>
              <a:rPr lang="pt-BR" sz="14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interagir mais</a:t>
            </a:r>
          </a:p>
        </p:txBody>
      </p:sp>
      <p:sp>
        <p:nvSpPr>
          <p:cNvPr id="40" name="Retângulo 39">
            <a:extLst>
              <a:ext uri="{FF2B5EF4-FFF2-40B4-BE49-F238E27FC236}">
                <a16:creationId xmlns:a16="http://schemas.microsoft.com/office/drawing/2014/main" id="{0BF071B9-022C-456B-A9C7-677A64FDD5BB}"/>
              </a:ext>
            </a:extLst>
          </p:cNvPr>
          <p:cNvSpPr/>
          <p:nvPr/>
        </p:nvSpPr>
        <p:spPr>
          <a:xfrm>
            <a:off x="2269405" y="6124741"/>
            <a:ext cx="1737325" cy="640369"/>
          </a:xfrm>
          <a:prstGeom prst="rect">
            <a:avLst/>
          </a:prstGeom>
          <a:solidFill>
            <a:srgbClr val="92D05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en-GB" sz="1400" dirty="0" err="1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omprometimento</a:t>
            </a:r>
            <a:endParaRPr lang="pt-BR" sz="1400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41" name="Retângulo 40">
            <a:extLst>
              <a:ext uri="{FF2B5EF4-FFF2-40B4-BE49-F238E27FC236}">
                <a16:creationId xmlns:a16="http://schemas.microsoft.com/office/drawing/2014/main" id="{0C83066B-997B-483E-9135-54353726157B}"/>
              </a:ext>
            </a:extLst>
          </p:cNvPr>
          <p:cNvSpPr/>
          <p:nvPr/>
        </p:nvSpPr>
        <p:spPr>
          <a:xfrm>
            <a:off x="11584704" y="2716070"/>
            <a:ext cx="1229968" cy="640369"/>
          </a:xfrm>
          <a:prstGeom prst="rect">
            <a:avLst/>
          </a:prstGeom>
          <a:solidFill>
            <a:srgbClr val="FF66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en-GB" sz="1400" dirty="0" err="1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Manter</a:t>
            </a:r>
            <a:r>
              <a:rPr lang="en-GB" sz="14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 a C</a:t>
            </a:r>
            <a:r>
              <a:rPr lang="pt-BR" sz="1400" dirty="0" err="1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riatividade</a:t>
            </a:r>
            <a:endParaRPr lang="pt-BR" sz="1400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42" name="Retângulo 41">
            <a:extLst>
              <a:ext uri="{FF2B5EF4-FFF2-40B4-BE49-F238E27FC236}">
                <a16:creationId xmlns:a16="http://schemas.microsoft.com/office/drawing/2014/main" id="{78BCBBDB-DB95-49F2-A291-5620F4F4DCF7}"/>
              </a:ext>
            </a:extLst>
          </p:cNvPr>
          <p:cNvSpPr/>
          <p:nvPr/>
        </p:nvSpPr>
        <p:spPr>
          <a:xfrm>
            <a:off x="10836567" y="4178614"/>
            <a:ext cx="1629543" cy="640369"/>
          </a:xfrm>
          <a:prstGeom prst="rect">
            <a:avLst/>
          </a:prstGeom>
          <a:solidFill>
            <a:srgbClr val="FF66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en-GB" sz="1400" dirty="0" err="1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Responsabilidade</a:t>
            </a:r>
            <a:endParaRPr lang="pt-BR" sz="1400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63797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as">
  <a:themeElements>
    <a:clrScheme name="Best">
      <a:dk1>
        <a:sysClr val="windowText" lastClr="000000"/>
      </a:dk1>
      <a:lt1>
        <a:sysClr val="window" lastClr="FFFFFF"/>
      </a:lt1>
      <a:dk2>
        <a:srgbClr val="253746"/>
      </a:dk2>
      <a:lt2>
        <a:srgbClr val="EEECE1"/>
      </a:lt2>
      <a:accent1>
        <a:srgbClr val="32B9CD"/>
      </a:accent1>
      <a:accent2>
        <a:srgbClr val="CE0F69"/>
      </a:accent2>
      <a:accent3>
        <a:srgbClr val="9BBB59"/>
      </a:accent3>
      <a:accent4>
        <a:srgbClr val="292C3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teúd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Encerramento / Agradeciment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74</TotalTime>
  <Words>212</Words>
  <Application>Microsoft Office PowerPoint</Application>
  <PresentationFormat>Personalizar</PresentationFormat>
  <Paragraphs>56</Paragraphs>
  <Slides>5</Slides>
  <Notes>2</Notes>
  <HiddenSlides>0</HiddenSlides>
  <MMClips>0</MMClips>
  <ScaleCrop>false</ScaleCrop>
  <HeadingPairs>
    <vt:vector size="8" baseType="variant">
      <vt:variant>
        <vt:lpstr>Fontes usadas</vt:lpstr>
      </vt:variant>
      <vt:variant>
        <vt:i4>6</vt:i4>
      </vt:variant>
      <vt:variant>
        <vt:lpstr>Tema</vt:lpstr>
      </vt:variant>
      <vt:variant>
        <vt:i4>3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5</vt:i4>
      </vt:variant>
    </vt:vector>
  </HeadingPairs>
  <TitlesOfParts>
    <vt:vector size="15" baseType="lpstr">
      <vt:lpstr>Arial</vt:lpstr>
      <vt:lpstr>Calibri</vt:lpstr>
      <vt:lpstr>Exo 2</vt:lpstr>
      <vt:lpstr>MV Boli</vt:lpstr>
      <vt:lpstr>Simplon BP Medium</vt:lpstr>
      <vt:lpstr>Simplon BP Regular</vt:lpstr>
      <vt:lpstr>Capas</vt:lpstr>
      <vt:lpstr>Conteúdo</vt:lpstr>
      <vt:lpstr>Encerramento / Agradecimento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kira</dc:creator>
  <cp:lastModifiedBy>Gabriel Sutto Ramos</cp:lastModifiedBy>
  <cp:revision>188</cp:revision>
  <dcterms:created xsi:type="dcterms:W3CDTF">2016-12-01T16:19:35Z</dcterms:created>
  <dcterms:modified xsi:type="dcterms:W3CDTF">2019-09-12T23:23:24Z</dcterms:modified>
</cp:coreProperties>
</file>